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sldIdLst>
    <p:sldId id="256" r:id="rId2"/>
    <p:sldId id="258" r:id="rId3"/>
    <p:sldId id="312" r:id="rId4"/>
    <p:sldId id="273" r:id="rId5"/>
    <p:sldId id="274" r:id="rId6"/>
    <p:sldId id="313" r:id="rId7"/>
    <p:sldId id="314" r:id="rId8"/>
    <p:sldId id="315" r:id="rId9"/>
    <p:sldId id="316" r:id="rId10"/>
    <p:sldId id="317" r:id="rId11"/>
    <p:sldId id="302" r:id="rId12"/>
    <p:sldId id="261" r:id="rId13"/>
    <p:sldId id="318" r:id="rId14"/>
    <p:sldId id="320" r:id="rId15"/>
    <p:sldId id="321" r:id="rId16"/>
    <p:sldId id="324" r:id="rId17"/>
    <p:sldId id="325" r:id="rId18"/>
    <p:sldId id="326" r:id="rId19"/>
    <p:sldId id="327" r:id="rId20"/>
    <p:sldId id="328" r:id="rId21"/>
    <p:sldId id="329" r:id="rId22"/>
    <p:sldId id="331" r:id="rId2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E1CB2B-ED93-498B-9977-258471074ACD}" v="1171" dt="2021-01-13T13:14:49.1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이 지상" userId="52e16c35b1c96571" providerId="LiveId" clId="{7300C73E-AFAE-4B36-A546-DABD5660E6B7}"/>
    <pc:docChg chg="undo custSel mod addSld delSld modSld sldOrd modMainMaster">
      <pc:chgData name="이 지상" userId="52e16c35b1c96571" providerId="LiveId" clId="{7300C73E-AFAE-4B36-A546-DABD5660E6B7}" dt="2021-01-06T13:34:23.003" v="6582" actId="20577"/>
      <pc:docMkLst>
        <pc:docMk/>
      </pc:docMkLst>
      <pc:sldChg chg="del">
        <pc:chgData name="이 지상" userId="52e16c35b1c96571" providerId="LiveId" clId="{7300C73E-AFAE-4B36-A546-DABD5660E6B7}" dt="2021-01-06T11:58:10.470" v="1" actId="2696"/>
        <pc:sldMkLst>
          <pc:docMk/>
          <pc:sldMk cId="3125704070" sldId="256"/>
        </pc:sldMkLst>
      </pc:sldChg>
      <pc:sldChg chg="del">
        <pc:chgData name="이 지상" userId="52e16c35b1c96571" providerId="LiveId" clId="{7300C73E-AFAE-4B36-A546-DABD5660E6B7}" dt="2021-01-06T11:58:07.315" v="0" actId="2696"/>
        <pc:sldMkLst>
          <pc:docMk/>
          <pc:sldMk cId="206870371" sldId="257"/>
        </pc:sldMkLst>
      </pc:sldChg>
      <pc:sldChg chg="del">
        <pc:chgData name="이 지상" userId="52e16c35b1c96571" providerId="LiveId" clId="{7300C73E-AFAE-4B36-A546-DABD5660E6B7}" dt="2021-01-06T13:29:59.551" v="5558" actId="2696"/>
        <pc:sldMkLst>
          <pc:docMk/>
          <pc:sldMk cId="1322796649" sldId="258"/>
        </pc:sldMkLst>
      </pc:sldChg>
      <pc:sldChg chg="del">
        <pc:chgData name="이 지상" userId="52e16c35b1c96571" providerId="LiveId" clId="{7300C73E-AFAE-4B36-A546-DABD5660E6B7}" dt="2021-01-06T13:30:00.310" v="5559" actId="2696"/>
        <pc:sldMkLst>
          <pc:docMk/>
          <pc:sldMk cId="1766972951" sldId="260"/>
        </pc:sldMkLst>
      </pc:sldChg>
      <pc:sldChg chg="del">
        <pc:chgData name="이 지상" userId="52e16c35b1c96571" providerId="LiveId" clId="{7300C73E-AFAE-4B36-A546-DABD5660E6B7}" dt="2021-01-06T13:30:02.368" v="5560" actId="2696"/>
        <pc:sldMkLst>
          <pc:docMk/>
          <pc:sldMk cId="2722027405" sldId="261"/>
        </pc:sldMkLst>
      </pc:sldChg>
      <pc:sldChg chg="modSp mod">
        <pc:chgData name="이 지상" userId="52e16c35b1c96571" providerId="LiveId" clId="{7300C73E-AFAE-4B36-A546-DABD5660E6B7}" dt="2021-01-06T12:03:37.344" v="21" actId="20577"/>
        <pc:sldMkLst>
          <pc:docMk/>
          <pc:sldMk cId="3816871195" sldId="262"/>
        </pc:sldMkLst>
        <pc:spChg chg="mod">
          <ac:chgData name="이 지상" userId="52e16c35b1c96571" providerId="LiveId" clId="{7300C73E-AFAE-4B36-A546-DABD5660E6B7}" dt="2021-01-06T12:03:37.344" v="21" actId="20577"/>
          <ac:spMkLst>
            <pc:docMk/>
            <pc:sldMk cId="3816871195" sldId="262"/>
            <ac:spMk id="6" creationId="{28D1B46C-2EB8-40C4-B685-0D3D2654920E}"/>
          </ac:spMkLst>
        </pc:spChg>
      </pc:sldChg>
      <pc:sldChg chg="addSp delSp modSp mod setBg">
        <pc:chgData name="이 지상" userId="52e16c35b1c96571" providerId="LiveId" clId="{7300C73E-AFAE-4B36-A546-DABD5660E6B7}" dt="2021-01-06T13:11:29.780" v="5038" actId="1076"/>
        <pc:sldMkLst>
          <pc:docMk/>
          <pc:sldMk cId="828816942" sldId="263"/>
        </pc:sldMkLst>
        <pc:spChg chg="del mod">
          <ac:chgData name="이 지상" userId="52e16c35b1c96571" providerId="LiveId" clId="{7300C73E-AFAE-4B36-A546-DABD5660E6B7}" dt="2021-01-06T13:06:11.289" v="4520" actId="478"/>
          <ac:spMkLst>
            <pc:docMk/>
            <pc:sldMk cId="828816942" sldId="263"/>
            <ac:spMk id="2" creationId="{6E6A1BCC-AE22-47CD-9C53-13B20769795B}"/>
          </ac:spMkLst>
        </pc:spChg>
        <pc:spChg chg="add del mod">
          <ac:chgData name="이 지상" userId="52e16c35b1c96571" providerId="LiveId" clId="{7300C73E-AFAE-4B36-A546-DABD5660E6B7}" dt="2021-01-06T13:10:59.747" v="5035" actId="20577"/>
          <ac:spMkLst>
            <pc:docMk/>
            <pc:sldMk cId="828816942" sldId="263"/>
            <ac:spMk id="3" creationId="{A055257D-8CB8-44B7-9E2F-F52E6D25BFB4}"/>
          </ac:spMkLst>
        </pc:spChg>
        <pc:spChg chg="add del">
          <ac:chgData name="이 지상" userId="52e16c35b1c96571" providerId="LiveId" clId="{7300C73E-AFAE-4B36-A546-DABD5660E6B7}" dt="2021-01-06T13:05:31.575" v="4518" actId="26606"/>
          <ac:spMkLst>
            <pc:docMk/>
            <pc:sldMk cId="828816942" sldId="263"/>
            <ac:spMk id="9" creationId="{98AC4884-2608-44FE-A6F9-332328F653AE}"/>
          </ac:spMkLst>
        </pc:spChg>
        <pc:picChg chg="add del mod ord">
          <ac:chgData name="이 지상" userId="52e16c35b1c96571" providerId="LiveId" clId="{7300C73E-AFAE-4B36-A546-DABD5660E6B7}" dt="2021-01-06T13:05:31.755" v="4519" actId="22"/>
          <ac:picMkLst>
            <pc:docMk/>
            <pc:sldMk cId="828816942" sldId="263"/>
            <ac:picMk id="5" creationId="{698181B8-94E7-4589-9522-97EDE821C1CB}"/>
          </ac:picMkLst>
        </pc:picChg>
        <pc:picChg chg="add mod">
          <ac:chgData name="이 지상" userId="52e16c35b1c96571" providerId="LiveId" clId="{7300C73E-AFAE-4B36-A546-DABD5660E6B7}" dt="2021-01-06T13:11:29.780" v="5038" actId="1076"/>
          <ac:picMkLst>
            <pc:docMk/>
            <pc:sldMk cId="828816942" sldId="263"/>
            <ac:picMk id="7" creationId="{83B76159-2E4A-4989-AA36-073577AA7EDB}"/>
          </ac:picMkLst>
        </pc:picChg>
      </pc:sldChg>
      <pc:sldChg chg="modSp mod">
        <pc:chgData name="이 지상" userId="52e16c35b1c96571" providerId="LiveId" clId="{7300C73E-AFAE-4B36-A546-DABD5660E6B7}" dt="2021-01-06T12:30:10.770" v="2357" actId="14100"/>
        <pc:sldMkLst>
          <pc:docMk/>
          <pc:sldMk cId="1599807420" sldId="264"/>
        </pc:sldMkLst>
        <pc:spChg chg="mod">
          <ac:chgData name="이 지상" userId="52e16c35b1c96571" providerId="LiveId" clId="{7300C73E-AFAE-4B36-A546-DABD5660E6B7}" dt="2021-01-06T12:30:10.770" v="2357" actId="14100"/>
          <ac:spMkLst>
            <pc:docMk/>
            <pc:sldMk cId="1599807420" sldId="264"/>
            <ac:spMk id="2" creationId="{B8F1E1AA-2C98-4EEC-8DFB-F1E0974AE2E3}"/>
          </ac:spMkLst>
        </pc:spChg>
      </pc:sldChg>
      <pc:sldChg chg="addSp delSp modSp new mod">
        <pc:chgData name="이 지상" userId="52e16c35b1c96571" providerId="LiveId" clId="{7300C73E-AFAE-4B36-A546-DABD5660E6B7}" dt="2021-01-06T12:13:52.095" v="644" actId="20577"/>
        <pc:sldMkLst>
          <pc:docMk/>
          <pc:sldMk cId="2707488931" sldId="265"/>
        </pc:sldMkLst>
        <pc:spChg chg="del">
          <ac:chgData name="이 지상" userId="52e16c35b1c96571" providerId="LiveId" clId="{7300C73E-AFAE-4B36-A546-DABD5660E6B7}" dt="2021-01-06T12:13:04.117" v="562" actId="478"/>
          <ac:spMkLst>
            <pc:docMk/>
            <pc:sldMk cId="2707488931" sldId="265"/>
            <ac:spMk id="2" creationId="{DA4CBB78-C8DF-4D24-A55C-E1A02252C58E}"/>
          </ac:spMkLst>
        </pc:spChg>
        <pc:spChg chg="mod">
          <ac:chgData name="이 지상" userId="52e16c35b1c96571" providerId="LiveId" clId="{7300C73E-AFAE-4B36-A546-DABD5660E6B7}" dt="2021-01-06T12:13:52.095" v="644" actId="20577"/>
          <ac:spMkLst>
            <pc:docMk/>
            <pc:sldMk cId="2707488931" sldId="265"/>
            <ac:spMk id="3" creationId="{B28E5272-AEF7-4B8E-AC44-8D8E0E28DCF6}"/>
          </ac:spMkLst>
        </pc:spChg>
        <pc:spChg chg="add del">
          <ac:chgData name="이 지상" userId="52e16c35b1c96571" providerId="LiveId" clId="{7300C73E-AFAE-4B36-A546-DABD5660E6B7}" dt="2021-01-06T12:10:16.660" v="438"/>
          <ac:spMkLst>
            <pc:docMk/>
            <pc:sldMk cId="2707488931" sldId="265"/>
            <ac:spMk id="4" creationId="{28C12925-516A-40F6-9B60-877C3CE51278}"/>
          </ac:spMkLst>
        </pc:spChg>
        <pc:spChg chg="add del">
          <ac:chgData name="이 지상" userId="52e16c35b1c96571" providerId="LiveId" clId="{7300C73E-AFAE-4B36-A546-DABD5660E6B7}" dt="2021-01-06T12:10:27.227" v="449"/>
          <ac:spMkLst>
            <pc:docMk/>
            <pc:sldMk cId="2707488931" sldId="265"/>
            <ac:spMk id="5" creationId="{8D33AA28-8397-4CDB-BA50-3F05B8FF30BC}"/>
          </ac:spMkLst>
        </pc:spChg>
        <pc:picChg chg="add mod">
          <ac:chgData name="이 지상" userId="52e16c35b1c96571" providerId="LiveId" clId="{7300C73E-AFAE-4B36-A546-DABD5660E6B7}" dt="2021-01-06T12:13:13.965" v="564" actId="1076"/>
          <ac:picMkLst>
            <pc:docMk/>
            <pc:sldMk cId="2707488931" sldId="265"/>
            <ac:picMk id="7" creationId="{005BBC4C-35FA-499A-A3C8-D6C4A9485024}"/>
          </ac:picMkLst>
        </pc:picChg>
      </pc:sldChg>
      <pc:sldChg chg="modSp new mod">
        <pc:chgData name="이 지상" userId="52e16c35b1c96571" providerId="LiveId" clId="{7300C73E-AFAE-4B36-A546-DABD5660E6B7}" dt="2021-01-06T12:22:46.313" v="1460" actId="20577"/>
        <pc:sldMkLst>
          <pc:docMk/>
          <pc:sldMk cId="1298320984" sldId="266"/>
        </pc:sldMkLst>
        <pc:spChg chg="mod">
          <ac:chgData name="이 지상" userId="52e16c35b1c96571" providerId="LiveId" clId="{7300C73E-AFAE-4B36-A546-DABD5660E6B7}" dt="2021-01-06T12:17:32.409" v="845"/>
          <ac:spMkLst>
            <pc:docMk/>
            <pc:sldMk cId="1298320984" sldId="266"/>
            <ac:spMk id="2" creationId="{95E524D1-0939-44A4-AE66-56A326DE930E}"/>
          </ac:spMkLst>
        </pc:spChg>
        <pc:spChg chg="mod">
          <ac:chgData name="이 지상" userId="52e16c35b1c96571" providerId="LiveId" clId="{7300C73E-AFAE-4B36-A546-DABD5660E6B7}" dt="2021-01-06T12:22:46.313" v="1460" actId="20577"/>
          <ac:spMkLst>
            <pc:docMk/>
            <pc:sldMk cId="1298320984" sldId="266"/>
            <ac:spMk id="3" creationId="{E64EB369-CF5A-4559-B7C3-DCB78EE2326A}"/>
          </ac:spMkLst>
        </pc:spChg>
      </pc:sldChg>
      <pc:sldChg chg="modSp new mod">
        <pc:chgData name="이 지상" userId="52e16c35b1c96571" providerId="LiveId" clId="{7300C73E-AFAE-4B36-A546-DABD5660E6B7}" dt="2021-01-06T12:28:24.511" v="2287" actId="20577"/>
        <pc:sldMkLst>
          <pc:docMk/>
          <pc:sldMk cId="443975578" sldId="267"/>
        </pc:sldMkLst>
        <pc:spChg chg="mod">
          <ac:chgData name="이 지상" userId="52e16c35b1c96571" providerId="LiveId" clId="{7300C73E-AFAE-4B36-A546-DABD5660E6B7}" dt="2021-01-06T12:23:19.359" v="1515"/>
          <ac:spMkLst>
            <pc:docMk/>
            <pc:sldMk cId="443975578" sldId="267"/>
            <ac:spMk id="2" creationId="{EDE32983-9D3F-49CC-82E0-3B55D49859EF}"/>
          </ac:spMkLst>
        </pc:spChg>
        <pc:spChg chg="mod">
          <ac:chgData name="이 지상" userId="52e16c35b1c96571" providerId="LiveId" clId="{7300C73E-AFAE-4B36-A546-DABD5660E6B7}" dt="2021-01-06T12:28:24.511" v="2287" actId="20577"/>
          <ac:spMkLst>
            <pc:docMk/>
            <pc:sldMk cId="443975578" sldId="267"/>
            <ac:spMk id="3" creationId="{ED518809-407E-48A3-B992-2FC7B1886867}"/>
          </ac:spMkLst>
        </pc:spChg>
      </pc:sldChg>
      <pc:sldChg chg="modSp new mod">
        <pc:chgData name="이 지상" userId="52e16c35b1c96571" providerId="LiveId" clId="{7300C73E-AFAE-4B36-A546-DABD5660E6B7}" dt="2021-01-06T12:33:32.355" v="3071" actId="14100"/>
        <pc:sldMkLst>
          <pc:docMk/>
          <pc:sldMk cId="1744201434" sldId="268"/>
        </pc:sldMkLst>
        <pc:spChg chg="mod">
          <ac:chgData name="이 지상" userId="52e16c35b1c96571" providerId="LiveId" clId="{7300C73E-AFAE-4B36-A546-DABD5660E6B7}" dt="2021-01-06T12:31:06.983" v="2371" actId="20577"/>
          <ac:spMkLst>
            <pc:docMk/>
            <pc:sldMk cId="1744201434" sldId="268"/>
            <ac:spMk id="2" creationId="{495AC9B6-BC9D-4B77-97D0-7E4F14B6C6D9}"/>
          </ac:spMkLst>
        </pc:spChg>
        <pc:spChg chg="mod">
          <ac:chgData name="이 지상" userId="52e16c35b1c96571" providerId="LiveId" clId="{7300C73E-AFAE-4B36-A546-DABD5660E6B7}" dt="2021-01-06T12:33:32.355" v="3071" actId="14100"/>
          <ac:spMkLst>
            <pc:docMk/>
            <pc:sldMk cId="1744201434" sldId="268"/>
            <ac:spMk id="3" creationId="{5FCAE5FE-7853-49B5-910B-2D70639D179B}"/>
          </ac:spMkLst>
        </pc:spChg>
      </pc:sldChg>
      <pc:sldChg chg="addSp delSp modSp add mod ord">
        <pc:chgData name="이 지상" userId="52e16c35b1c96571" providerId="LiveId" clId="{7300C73E-AFAE-4B36-A546-DABD5660E6B7}" dt="2021-01-06T13:00:50.324" v="4498"/>
        <pc:sldMkLst>
          <pc:docMk/>
          <pc:sldMk cId="2087188947" sldId="269"/>
        </pc:sldMkLst>
        <pc:spChg chg="mod">
          <ac:chgData name="이 지상" userId="52e16c35b1c96571" providerId="LiveId" clId="{7300C73E-AFAE-4B36-A546-DABD5660E6B7}" dt="2021-01-06T12:53:31.149" v="3650" actId="20577"/>
          <ac:spMkLst>
            <pc:docMk/>
            <pc:sldMk cId="2087188947" sldId="269"/>
            <ac:spMk id="2" creationId="{AE997919-EB1B-4A1C-B903-706C8CC0FC0F}"/>
          </ac:spMkLst>
        </pc:spChg>
        <pc:spChg chg="mod">
          <ac:chgData name="이 지상" userId="52e16c35b1c96571" providerId="LiveId" clId="{7300C73E-AFAE-4B36-A546-DABD5660E6B7}" dt="2021-01-06T12:56:06.108" v="3908" actId="14100"/>
          <ac:spMkLst>
            <pc:docMk/>
            <pc:sldMk cId="2087188947" sldId="269"/>
            <ac:spMk id="3" creationId="{F8EB8E8A-5928-4DAB-9692-7CE698780D4C}"/>
          </ac:spMkLst>
        </pc:spChg>
        <pc:spChg chg="mod">
          <ac:chgData name="이 지상" userId="52e16c35b1c96571" providerId="LiveId" clId="{7300C73E-AFAE-4B36-A546-DABD5660E6B7}" dt="2021-01-06T13:00:50.324" v="4498"/>
          <ac:spMkLst>
            <pc:docMk/>
            <pc:sldMk cId="2087188947" sldId="269"/>
            <ac:spMk id="6" creationId="{28D1B46C-2EB8-40C4-B685-0D3D2654920E}"/>
          </ac:spMkLst>
        </pc:spChg>
        <pc:picChg chg="del">
          <ac:chgData name="이 지상" userId="52e16c35b1c96571" providerId="LiveId" clId="{7300C73E-AFAE-4B36-A546-DABD5660E6B7}" dt="2021-01-06T12:57:59.316" v="3909" actId="478"/>
          <ac:picMkLst>
            <pc:docMk/>
            <pc:sldMk cId="2087188947" sldId="269"/>
            <ac:picMk id="5" creationId="{1FA7D6BF-99AC-42DF-9EE7-CE12B834BFEC}"/>
          </ac:picMkLst>
        </pc:picChg>
        <pc:picChg chg="add mod">
          <ac:chgData name="이 지상" userId="52e16c35b1c96571" providerId="LiveId" clId="{7300C73E-AFAE-4B36-A546-DABD5660E6B7}" dt="2021-01-06T12:58:07.805" v="3912" actId="1076"/>
          <ac:picMkLst>
            <pc:docMk/>
            <pc:sldMk cId="2087188947" sldId="269"/>
            <ac:picMk id="7" creationId="{7D415C3F-BC0D-47D5-83AA-48ED58A541D8}"/>
          </ac:picMkLst>
        </pc:picChg>
      </pc:sldChg>
      <pc:sldChg chg="addSp delSp modSp new mod setBg">
        <pc:chgData name="이 지상" userId="52e16c35b1c96571" providerId="LiveId" clId="{7300C73E-AFAE-4B36-A546-DABD5660E6B7}" dt="2021-01-06T13:29:27.375" v="5549" actId="13822"/>
        <pc:sldMkLst>
          <pc:docMk/>
          <pc:sldMk cId="1915689589" sldId="270"/>
        </pc:sldMkLst>
        <pc:spChg chg="mo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2" creationId="{009759E9-0F42-44A8-959C-65B1B70C189E}"/>
          </ac:spMkLst>
        </pc:spChg>
        <pc:spChg chg="mod ord">
          <ac:chgData name="이 지상" userId="52e16c35b1c96571" providerId="LiveId" clId="{7300C73E-AFAE-4B36-A546-DABD5660E6B7}" dt="2021-01-06T13:28:46.561" v="5542" actId="20577"/>
          <ac:spMkLst>
            <pc:docMk/>
            <pc:sldMk cId="1915689589" sldId="270"/>
            <ac:spMk id="3" creationId="{D3911ADA-7BE8-4761-817A-54DDE985DEEE}"/>
          </ac:spMkLst>
        </pc:spChg>
        <pc:spChg chg="add mod">
          <ac:chgData name="이 지상" userId="52e16c35b1c96571" providerId="LiveId" clId="{7300C73E-AFAE-4B36-A546-DABD5660E6B7}" dt="2021-01-06T13:29:27.375" v="5549" actId="13822"/>
          <ac:spMkLst>
            <pc:docMk/>
            <pc:sldMk cId="1915689589" sldId="270"/>
            <ac:spMk id="10" creationId="{D8A76ED8-E460-4FBE-B1B6-1657C4FE4C47}"/>
          </ac:spMkLst>
        </pc:spChg>
        <pc:spChg chg="ad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12" creationId="{FFEB8BF2-8DE5-49E6-82CB-4F8FE941E7CF}"/>
          </ac:spMkLst>
        </pc:spChg>
        <pc:spChg chg="ad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14" creationId="{33AC2B9D-E497-4795-AE47-9B0ECC9BDDAA}"/>
          </ac:spMkLst>
        </pc:spChg>
        <pc:spChg chg="ad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16" creationId="{703DEB75-78DF-425F-8638-A9E1EAA5EA51}"/>
          </ac:spMkLst>
        </pc:spChg>
        <pc:picChg chg="add mod">
          <ac:chgData name="이 지상" userId="52e16c35b1c96571" providerId="LiveId" clId="{7300C73E-AFAE-4B36-A546-DABD5660E6B7}" dt="2021-01-06T13:28:50.325" v="5543" actId="1076"/>
          <ac:picMkLst>
            <pc:docMk/>
            <pc:sldMk cId="1915689589" sldId="270"/>
            <ac:picMk id="5" creationId="{4378D135-F4AF-46E2-A147-1C6E1EE145F0}"/>
          </ac:picMkLst>
        </pc:picChg>
        <pc:picChg chg="add mod">
          <ac:chgData name="이 지상" userId="52e16c35b1c96571" providerId="LiveId" clId="{7300C73E-AFAE-4B36-A546-DABD5660E6B7}" dt="2021-01-06T13:28:51.533" v="5544" actId="1076"/>
          <ac:picMkLst>
            <pc:docMk/>
            <pc:sldMk cId="1915689589" sldId="270"/>
            <ac:picMk id="7" creationId="{F3A10511-B184-44C5-B886-3B41278CE2DA}"/>
          </ac:picMkLst>
        </pc:picChg>
        <pc:cxnChg chg="add del mod">
          <ac:chgData name="이 지상" userId="52e16c35b1c96571" providerId="LiveId" clId="{7300C73E-AFAE-4B36-A546-DABD5660E6B7}" dt="2021-01-06T13:29:21.088" v="5547" actId="478"/>
          <ac:cxnSpMkLst>
            <pc:docMk/>
            <pc:sldMk cId="1915689589" sldId="270"/>
            <ac:cxnSpMk id="9" creationId="{19FA7BFA-D4BF-42F7-89ED-67B9D070D174}"/>
          </ac:cxnSpMkLst>
        </pc:cxnChg>
      </pc:sldChg>
      <pc:sldChg chg="new del">
        <pc:chgData name="이 지상" userId="52e16c35b1c96571" providerId="LiveId" clId="{7300C73E-AFAE-4B36-A546-DABD5660E6B7}" dt="2021-01-06T13:29:55.364" v="5557" actId="2696"/>
        <pc:sldMkLst>
          <pc:docMk/>
          <pc:sldMk cId="1481283745" sldId="271"/>
        </pc:sldMkLst>
      </pc:sldChg>
      <pc:sldChg chg="modSp add mod ord">
        <pc:chgData name="이 지상" userId="52e16c35b1c96571" providerId="LiveId" clId="{7300C73E-AFAE-4B36-A546-DABD5660E6B7}" dt="2021-01-06T13:34:23.003" v="6582" actId="20577"/>
        <pc:sldMkLst>
          <pc:docMk/>
          <pc:sldMk cId="107841607" sldId="272"/>
        </pc:sldMkLst>
        <pc:spChg chg="mod">
          <ac:chgData name="이 지상" userId="52e16c35b1c96571" providerId="LiveId" clId="{7300C73E-AFAE-4B36-A546-DABD5660E6B7}" dt="2021-01-06T13:29:50.984" v="5556" actId="20577"/>
          <ac:spMkLst>
            <pc:docMk/>
            <pc:sldMk cId="107841607" sldId="272"/>
            <ac:spMk id="2" creationId="{495AC9B6-BC9D-4B77-97D0-7E4F14B6C6D9}"/>
          </ac:spMkLst>
        </pc:spChg>
        <pc:spChg chg="mod">
          <ac:chgData name="이 지상" userId="52e16c35b1c96571" providerId="LiveId" clId="{7300C73E-AFAE-4B36-A546-DABD5660E6B7}" dt="2021-01-06T13:34:23.003" v="6582" actId="20577"/>
          <ac:spMkLst>
            <pc:docMk/>
            <pc:sldMk cId="107841607" sldId="272"/>
            <ac:spMk id="3" creationId="{5FCAE5FE-7853-49B5-910B-2D70639D179B}"/>
          </ac:spMkLst>
        </pc:spChg>
      </pc:sldChg>
      <pc:sldMasterChg chg="setBg">
        <pc:chgData name="이 지상" userId="52e16c35b1c96571" providerId="LiveId" clId="{7300C73E-AFAE-4B36-A546-DABD5660E6B7}" dt="2021-01-06T13:27:33.505" v="5452"/>
        <pc:sldMasterMkLst>
          <pc:docMk/>
          <pc:sldMasterMk cId="2917347261" sldId="2147483677"/>
        </pc:sldMasterMkLst>
      </pc:sldMasterChg>
    </pc:docChg>
  </pc:docChgLst>
  <pc:docChgLst>
    <pc:chgData name="이 지상" userId="52e16c35b1c96571" providerId="LiveId" clId="{FEB8189F-1772-4F30-BCF5-0959666C9478}"/>
    <pc:docChg chg="modSld">
      <pc:chgData name="이 지상" userId="52e16c35b1c96571" providerId="LiveId" clId="{FEB8189F-1772-4F30-BCF5-0959666C9478}" dt="2021-01-07T14:06:14.780" v="3"/>
      <pc:docMkLst>
        <pc:docMk/>
      </pc:docMkLst>
      <pc:sldChg chg="modSp mod">
        <pc:chgData name="이 지상" userId="52e16c35b1c96571" providerId="LiveId" clId="{FEB8189F-1772-4F30-BCF5-0959666C9478}" dt="2021-01-07T14:06:14.780" v="3"/>
        <pc:sldMkLst>
          <pc:docMk/>
          <pc:sldMk cId="2087188947" sldId="269"/>
        </pc:sldMkLst>
        <pc:spChg chg="mod">
          <ac:chgData name="이 지상" userId="52e16c35b1c96571" providerId="LiveId" clId="{FEB8189F-1772-4F30-BCF5-0959666C9478}" dt="2021-01-07T14:06:14.780" v="3"/>
          <ac:spMkLst>
            <pc:docMk/>
            <pc:sldMk cId="2087188947" sldId="269"/>
            <ac:spMk id="6" creationId="{28D1B46C-2EB8-40C4-B685-0D3D2654920E}"/>
          </ac:spMkLst>
        </pc:spChg>
      </pc:sldChg>
    </pc:docChg>
  </pc:docChgLst>
  <pc:docChgLst>
    <pc:chgData name="이 지상" userId="52e16c35b1c96571" providerId="LiveId" clId="{E3E1CB2B-ED93-498B-9977-258471074ACD}"/>
    <pc:docChg chg="undo custSel mod addSld delSld modSld sldOrd">
      <pc:chgData name="이 지상" userId="52e16c35b1c96571" providerId="LiveId" clId="{E3E1CB2B-ED93-498B-9977-258471074ACD}" dt="2021-01-13T13:14:49.138" v="16148"/>
      <pc:docMkLst>
        <pc:docMk/>
      </pc:docMkLst>
      <pc:sldChg chg="modSp add mod">
        <pc:chgData name="이 지상" userId="52e16c35b1c96571" providerId="LiveId" clId="{E3E1CB2B-ED93-498B-9977-258471074ACD}" dt="2021-01-13T12:24:06.474" v="13187" actId="20577"/>
        <pc:sldMkLst>
          <pc:docMk/>
          <pc:sldMk cId="3059116568" sldId="256"/>
        </pc:sldMkLst>
        <pc:spChg chg="mod">
          <ac:chgData name="이 지상" userId="52e16c35b1c96571" providerId="LiveId" clId="{E3E1CB2B-ED93-498B-9977-258471074ACD}" dt="2021-01-13T12:24:06.474" v="13187" actId="20577"/>
          <ac:spMkLst>
            <pc:docMk/>
            <pc:sldMk cId="3059116568" sldId="256"/>
            <ac:spMk id="2" creationId="{00000000-0000-0000-0000-000000000000}"/>
          </ac:spMkLst>
        </pc:spChg>
        <pc:spChg chg="mod">
          <ac:chgData name="이 지상" userId="52e16c35b1c96571" providerId="LiveId" clId="{E3E1CB2B-ED93-498B-9977-258471074ACD}" dt="2021-01-13T12:23:57.786" v="13160" actId="255"/>
          <ac:spMkLst>
            <pc:docMk/>
            <pc:sldMk cId="3059116568" sldId="256"/>
            <ac:spMk id="5" creationId="{00000000-0000-0000-0000-000000000000}"/>
          </ac:spMkLst>
        </pc:spChg>
      </pc:sldChg>
      <pc:sldChg chg="modSp del mod">
        <pc:chgData name="이 지상" userId="52e16c35b1c96571" providerId="LiveId" clId="{E3E1CB2B-ED93-498B-9977-258471074ACD}" dt="2021-01-13T12:24:50.930" v="13233" actId="2696"/>
        <pc:sldMkLst>
          <pc:docMk/>
          <pc:sldMk cId="502321727" sldId="259"/>
        </pc:sldMkLst>
        <pc:spChg chg="mod">
          <ac:chgData name="이 지상" userId="52e16c35b1c96571" providerId="LiveId" clId="{E3E1CB2B-ED93-498B-9977-258471074ACD}" dt="2021-01-13T12:23:47.590" v="13158" actId="27636"/>
          <ac:spMkLst>
            <pc:docMk/>
            <pc:sldMk cId="502321727" sldId="259"/>
            <ac:spMk id="2" creationId="{B8F1E1AA-2C98-4EEC-8DFB-F1E0974AE2E3}"/>
          </ac:spMkLst>
        </pc:spChg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828816942" sldId="263"/>
        </pc:sldMkLst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1599807420" sldId="264"/>
        </pc:sldMkLst>
      </pc:sldChg>
      <pc:sldChg chg="setBg">
        <pc:chgData name="이 지상" userId="52e16c35b1c96571" providerId="LiveId" clId="{E3E1CB2B-ED93-498B-9977-258471074ACD}" dt="2021-01-13T12:26:34.207" v="13235"/>
        <pc:sldMkLst>
          <pc:docMk/>
          <pc:sldMk cId="1298320984" sldId="266"/>
        </pc:sldMkLst>
      </pc:sldChg>
      <pc:sldChg chg="del">
        <pc:chgData name="이 지상" userId="52e16c35b1c96571" providerId="LiveId" clId="{E3E1CB2B-ED93-498B-9977-258471074ACD}" dt="2021-01-13T13:09:08.812" v="15389" actId="2696"/>
        <pc:sldMkLst>
          <pc:docMk/>
          <pc:sldMk cId="443975578" sldId="267"/>
        </pc:sldMkLst>
      </pc:sldChg>
      <pc:sldChg chg="del">
        <pc:chgData name="이 지상" userId="52e16c35b1c96571" providerId="LiveId" clId="{E3E1CB2B-ED93-498B-9977-258471074ACD}" dt="2021-01-13T13:09:12.789" v="15391" actId="2696"/>
        <pc:sldMkLst>
          <pc:docMk/>
          <pc:sldMk cId="1744201434" sldId="268"/>
        </pc:sldMkLst>
      </pc:sldChg>
      <pc:sldChg chg="del">
        <pc:chgData name="이 지상" userId="52e16c35b1c96571" providerId="LiveId" clId="{E3E1CB2B-ED93-498B-9977-258471074ACD}" dt="2021-01-13T13:09:10.374" v="15390" actId="2696"/>
        <pc:sldMkLst>
          <pc:docMk/>
          <pc:sldMk cId="2087188947" sldId="269"/>
        </pc:sldMkLst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1915689589" sldId="270"/>
        </pc:sldMkLst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107841607" sldId="272"/>
        </pc:sldMkLst>
      </pc:sldChg>
      <pc:sldChg chg="modSp mod">
        <pc:chgData name="이 지상" userId="52e16c35b1c96571" providerId="LiveId" clId="{E3E1CB2B-ED93-498B-9977-258471074ACD}" dt="2021-01-13T10:26:18.982" v="2400" actId="20577"/>
        <pc:sldMkLst>
          <pc:docMk/>
          <pc:sldMk cId="3271709739" sldId="274"/>
        </pc:sldMkLst>
        <pc:spChg chg="mod">
          <ac:chgData name="이 지상" userId="52e16c35b1c96571" providerId="LiveId" clId="{E3E1CB2B-ED93-498B-9977-258471074ACD}" dt="2021-01-13T10:26:17.923" v="2399"/>
          <ac:spMkLst>
            <pc:docMk/>
            <pc:sldMk cId="3271709739" sldId="274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26:18.982" v="2400" actId="20577"/>
          <ac:spMkLst>
            <pc:docMk/>
            <pc:sldMk cId="3271709739" sldId="274"/>
            <ac:spMk id="7" creationId="{2260A6A2-82F8-410C-B05D-F9F149C06749}"/>
          </ac:spMkLst>
        </pc:spChg>
      </pc:sldChg>
      <pc:sldChg chg="del">
        <pc:chgData name="이 지상" userId="52e16c35b1c96571" providerId="LiveId" clId="{E3E1CB2B-ED93-498B-9977-258471074ACD}" dt="2021-01-13T13:09:04.304" v="15385" actId="2696"/>
        <pc:sldMkLst>
          <pc:docMk/>
          <pc:sldMk cId="4110664761" sldId="275"/>
        </pc:sldMkLst>
      </pc:sldChg>
      <pc:sldChg chg="modSp mod">
        <pc:chgData name="이 지상" userId="52e16c35b1c96571" providerId="LiveId" clId="{E3E1CB2B-ED93-498B-9977-258471074ACD}" dt="2021-01-13T10:27:14.396" v="2458" actId="255"/>
        <pc:sldMkLst>
          <pc:docMk/>
          <pc:sldMk cId="3528049584" sldId="276"/>
        </pc:sldMkLst>
        <pc:spChg chg="mod">
          <ac:chgData name="이 지상" userId="52e16c35b1c96571" providerId="LiveId" clId="{E3E1CB2B-ED93-498B-9977-258471074ACD}" dt="2021-01-13T10:27:14.396" v="2458" actId="255"/>
          <ac:spMkLst>
            <pc:docMk/>
            <pc:sldMk cId="3528049584" sldId="276"/>
            <ac:spMk id="2" creationId="{4803AC60-B1EB-4F45-9FAD-7E1C0E21014C}"/>
          </ac:spMkLst>
        </pc:spChg>
      </pc:sldChg>
      <pc:sldChg chg="addSp delSp modSp mod ord setBg">
        <pc:chgData name="이 지상" userId="52e16c35b1c96571" providerId="LiveId" clId="{E3E1CB2B-ED93-498B-9977-258471074ACD}" dt="2021-01-13T11:11:36.348" v="6074" actId="20577"/>
        <pc:sldMkLst>
          <pc:docMk/>
          <pc:sldMk cId="3011063810" sldId="277"/>
        </pc:sldMkLst>
        <pc:spChg chg="mod">
          <ac:chgData name="이 지상" userId="52e16c35b1c96571" providerId="LiveId" clId="{E3E1CB2B-ED93-498B-9977-258471074ACD}" dt="2021-01-13T10:46:31.698" v="4447"/>
          <ac:spMkLst>
            <pc:docMk/>
            <pc:sldMk cId="3011063810" sldId="27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11:36.348" v="6074" actId="20577"/>
          <ac:spMkLst>
            <pc:docMk/>
            <pc:sldMk cId="3011063810" sldId="277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12" creationId="{201CC55D-ED54-4C5C-95E6-10947BD1103B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18" creationId="{3873B707-463F-40B0-8227-E8CC6C67EB25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20" creationId="{C13237C8-E62C-4F0D-A318-BD6FB6C2D138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22" creationId="{19C9EAEA-39D0-4B0E-A0EB-51E7B26740B1}"/>
          </ac:spMkLst>
        </pc:spChg>
        <pc:grpChg chg="add">
          <ac:chgData name="이 지상" userId="52e16c35b1c96571" providerId="LiveId" clId="{E3E1CB2B-ED93-498B-9977-258471074ACD}" dt="2021-01-13T10:45:12.559" v="4406" actId="26606"/>
          <ac:grpSpMkLst>
            <pc:docMk/>
            <pc:sldMk cId="3011063810" sldId="277"/>
            <ac:grpSpMk id="14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0:46:50.766" v="4455" actId="1076"/>
          <ac:picMkLst>
            <pc:docMk/>
            <pc:sldMk cId="3011063810" sldId="277"/>
            <ac:picMk id="4" creationId="{9303D027-E26B-411E-9A6C-5CCB163BB213}"/>
          </ac:picMkLst>
        </pc:picChg>
        <pc:picChg chg="del mod">
          <ac:chgData name="이 지상" userId="52e16c35b1c96571" providerId="LiveId" clId="{E3E1CB2B-ED93-498B-9977-258471074ACD}" dt="2021-01-13T10:46:34.659" v="4448" actId="478"/>
          <ac:picMkLst>
            <pc:docMk/>
            <pc:sldMk cId="3011063810" sldId="277"/>
            <ac:picMk id="6" creationId="{D71E50D2-B146-4FB3-9E8D-EA32D428EF40}"/>
          </ac:picMkLst>
        </pc:picChg>
      </pc:sldChg>
      <pc:sldChg chg="modSp mod">
        <pc:chgData name="이 지상" userId="52e16c35b1c96571" providerId="LiveId" clId="{E3E1CB2B-ED93-498B-9977-258471074ACD}" dt="2021-01-13T10:33:26.657" v="3284"/>
        <pc:sldMkLst>
          <pc:docMk/>
          <pc:sldMk cId="1703517502" sldId="278"/>
        </pc:sldMkLst>
        <pc:spChg chg="mod">
          <ac:chgData name="이 지상" userId="52e16c35b1c96571" providerId="LiveId" clId="{E3E1CB2B-ED93-498B-9977-258471074ACD}" dt="2021-01-13T10:33:26.657" v="3284"/>
          <ac:spMkLst>
            <pc:docMk/>
            <pc:sldMk cId="1703517502" sldId="278"/>
            <ac:spMk id="2" creationId="{4803AC60-B1EB-4F45-9FAD-7E1C0E21014C}"/>
          </ac:spMkLst>
        </pc:spChg>
      </pc:sldChg>
      <pc:sldChg chg="modSp mod">
        <pc:chgData name="이 지상" userId="52e16c35b1c96571" providerId="LiveId" clId="{E3E1CB2B-ED93-498B-9977-258471074ACD}" dt="2021-01-13T10:28:07.880" v="2603" actId="255"/>
        <pc:sldMkLst>
          <pc:docMk/>
          <pc:sldMk cId="566833962" sldId="279"/>
        </pc:sldMkLst>
        <pc:spChg chg="mod">
          <ac:chgData name="이 지상" userId="52e16c35b1c96571" providerId="LiveId" clId="{E3E1CB2B-ED93-498B-9977-258471074ACD}" dt="2021-01-13T10:28:07.880" v="2603" actId="255"/>
          <ac:spMkLst>
            <pc:docMk/>
            <pc:sldMk cId="566833962" sldId="279"/>
            <ac:spMk id="2" creationId="{4803AC60-B1EB-4F45-9FAD-7E1C0E21014C}"/>
          </ac:spMkLst>
        </pc:spChg>
      </pc:sldChg>
      <pc:sldChg chg="del">
        <pc:chgData name="이 지상" userId="52e16c35b1c96571" providerId="LiveId" clId="{E3E1CB2B-ED93-498B-9977-258471074ACD}" dt="2021-01-13T13:09:06.726" v="15387" actId="2696"/>
        <pc:sldMkLst>
          <pc:docMk/>
          <pc:sldMk cId="650320255" sldId="280"/>
        </pc:sldMkLst>
      </pc:sldChg>
      <pc:sldChg chg="del">
        <pc:chgData name="이 지상" userId="52e16c35b1c96571" providerId="LiveId" clId="{E3E1CB2B-ED93-498B-9977-258471074ACD}" dt="2021-01-13T13:09:05.447" v="15386" actId="2696"/>
        <pc:sldMkLst>
          <pc:docMk/>
          <pc:sldMk cId="3388342986" sldId="281"/>
        </pc:sldMkLst>
      </pc:sldChg>
      <pc:sldChg chg="delSp add del ord setBg delDesignElem">
        <pc:chgData name="이 지상" userId="52e16c35b1c96571" providerId="LiveId" clId="{E3E1CB2B-ED93-498B-9977-258471074ACD}" dt="2021-01-13T13:09:08.097" v="15388" actId="2696"/>
        <pc:sldMkLst>
          <pc:docMk/>
          <pc:sldMk cId="3136323738" sldId="282"/>
        </pc:sldMkLst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18" creationId="{3873B707-463F-40B0-8227-E8CC6C67EB25}"/>
          </ac:spMkLst>
        </pc:spChg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20" creationId="{C13237C8-E62C-4F0D-A318-BD6FB6C2D138}"/>
          </ac:spMkLst>
        </pc:spChg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22" creationId="{19C9EAEA-39D0-4B0E-A0EB-51E7B26740B1}"/>
          </ac:spMkLst>
        </pc:spChg>
        <pc:grpChg chg="del">
          <ac:chgData name="이 지상" userId="52e16c35b1c96571" providerId="LiveId" clId="{E3E1CB2B-ED93-498B-9977-258471074ACD}" dt="2021-01-13T09:59:44.131" v="1"/>
          <ac:grpSpMkLst>
            <pc:docMk/>
            <pc:sldMk cId="3136323738" sldId="282"/>
            <ac:grpSpMk id="14" creationId="{1DE889C7-FAD6-4397-98E2-05D503484459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0:33:42.497" v="3318"/>
        <pc:sldMkLst>
          <pc:docMk/>
          <pc:sldMk cId="677557569" sldId="283"/>
        </pc:sldMkLst>
        <pc:spChg chg="mod">
          <ac:chgData name="이 지상" userId="52e16c35b1c96571" providerId="LiveId" clId="{E3E1CB2B-ED93-498B-9977-258471074ACD}" dt="2021-01-13T10:33:42.497" v="3318"/>
          <ac:spMkLst>
            <pc:docMk/>
            <pc:sldMk cId="677557569" sldId="283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18" creationId="{3873B707-463F-40B0-8227-E8CC6C67EB25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19" creationId="{C13237C8-E62C-4F0D-A318-BD6FB6C2D138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20" creationId="{C13237C8-E62C-4F0D-A318-BD6FB6C2D138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21" creationId="{19C9EAEA-39D0-4B0E-A0EB-51E7B26740B1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22" creationId="{19C9EAEA-39D0-4B0E-A0EB-51E7B26740B1}"/>
          </ac:spMkLst>
        </pc:spChg>
        <pc:spChg chg="add mod">
          <ac:chgData name="이 지상" userId="52e16c35b1c96571" providerId="LiveId" clId="{E3E1CB2B-ED93-498B-9977-258471074ACD}" dt="2021-01-13T10:05:26.209" v="466" actId="14100"/>
          <ac:spMkLst>
            <pc:docMk/>
            <pc:sldMk cId="677557569" sldId="283"/>
            <ac:spMk id="24" creationId="{D52E601E-10DE-400B-82DB-ED97179B4ADE}"/>
          </ac:spMkLst>
        </pc:spChg>
        <pc:grpChg chg="add">
          <ac:chgData name="이 지상" userId="52e16c35b1c96571" providerId="LiveId" clId="{E3E1CB2B-ED93-498B-9977-258471074ACD}" dt="2021-01-13T10:01:19.303" v="52" actId="26606"/>
          <ac:grpSpMkLst>
            <pc:docMk/>
            <pc:sldMk cId="677557569" sldId="283"/>
            <ac:grpSpMk id="10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0:00:18.917" v="17"/>
          <ac:grpSpMkLst>
            <pc:docMk/>
            <pc:sldMk cId="677557569" sldId="283"/>
            <ac:grpSpMk id="14" creationId="{1DE889C7-FAD6-4397-98E2-05D503484459}"/>
          </ac:grpSpMkLst>
        </pc:grpChg>
        <pc:picChg chg="add del mod">
          <ac:chgData name="이 지상" userId="52e16c35b1c96571" providerId="LiveId" clId="{E3E1CB2B-ED93-498B-9977-258471074ACD}" dt="2021-01-13T10:01:23.532" v="53" actId="21"/>
          <ac:picMkLst>
            <pc:docMk/>
            <pc:sldMk cId="677557569" sldId="283"/>
            <ac:picMk id="4" creationId="{36374DB2-10F6-440C-B8CB-CEC96C07E795}"/>
          </ac:picMkLst>
        </pc:picChg>
        <pc:picChg chg="add mod">
          <ac:chgData name="이 지상" userId="52e16c35b1c96571" providerId="LiveId" clId="{E3E1CB2B-ED93-498B-9977-258471074ACD}" dt="2021-01-13T10:01:36.292" v="60" actId="14100"/>
          <ac:picMkLst>
            <pc:docMk/>
            <pc:sldMk cId="677557569" sldId="283"/>
            <ac:picMk id="6" creationId="{36B0CC5F-2661-4248-AAE9-8AC04D9C8A74}"/>
          </ac:picMkLst>
        </pc:picChg>
        <pc:picChg chg="del mod">
          <ac:chgData name="이 지상" userId="52e16c35b1c96571" providerId="LiveId" clId="{E3E1CB2B-ED93-498B-9977-258471074ACD}" dt="2021-01-13T10:00:34.985" v="46" actId="478"/>
          <ac:picMkLst>
            <pc:docMk/>
            <pc:sldMk cId="677557569" sldId="283"/>
            <ac:picMk id="13" creationId="{C0B59EAB-6464-43B3-9A05-20CB1551B24D}"/>
          </ac:picMkLst>
        </pc:picChg>
        <pc:picChg chg="del">
          <ac:chgData name="이 지상" userId="52e16c35b1c96571" providerId="LiveId" clId="{E3E1CB2B-ED93-498B-9977-258471074ACD}" dt="2021-01-13T10:00:34.441" v="44" actId="478"/>
          <ac:picMkLst>
            <pc:docMk/>
            <pc:sldMk cId="677557569" sldId="283"/>
            <ac:picMk id="17" creationId="{2436C098-61DD-412D-907B-3AE7C3A220E7}"/>
          </ac:picMkLst>
        </pc:picChg>
        <pc:picChg chg="add del mod">
          <ac:chgData name="이 지상" userId="52e16c35b1c96571" providerId="LiveId" clId="{E3E1CB2B-ED93-498B-9977-258471074ACD}" dt="2021-01-13T10:01:26.066" v="55"/>
          <ac:picMkLst>
            <pc:docMk/>
            <pc:sldMk cId="677557569" sldId="283"/>
            <ac:picMk id="23" creationId="{1C12A57B-7E8F-4455-81AE-7530BEE71618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00:09.454" v="15"/>
        <pc:sldMkLst>
          <pc:docMk/>
          <pc:sldMk cId="1023911485" sldId="283"/>
        </pc:sldMkLst>
        <pc:spChg chg="add del">
          <ac:chgData name="이 지상" userId="52e16c35b1c96571" providerId="LiveId" clId="{E3E1CB2B-ED93-498B-9977-258471074ACD}" dt="2021-01-13T10:00:09.454" v="15"/>
          <ac:spMkLst>
            <pc:docMk/>
            <pc:sldMk cId="1023911485" sldId="283"/>
            <ac:spMk id="8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0:00:09.454" v="15"/>
          <ac:spMkLst>
            <pc:docMk/>
            <pc:sldMk cId="1023911485" sldId="283"/>
            <ac:spMk id="14" creationId="{E659831F-0D9A-4C63-9EBB-8435B85A440F}"/>
          </ac:spMkLst>
        </pc:spChg>
        <pc:grpChg chg="add del">
          <ac:chgData name="이 지상" userId="52e16c35b1c96571" providerId="LiveId" clId="{E3E1CB2B-ED93-498B-9977-258471074ACD}" dt="2021-01-13T10:00:09.454" v="15"/>
          <ac:grpSpMkLst>
            <pc:docMk/>
            <pc:sldMk cId="1023911485" sldId="283"/>
            <ac:grpSpMk id="10" creationId="{28FAF094-D087-493F-8DF9-A486C2D6BBAA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0:36:13.212" v="3556"/>
        <pc:sldMkLst>
          <pc:docMk/>
          <pc:sldMk cId="2065336253" sldId="284"/>
        </pc:sldMkLst>
        <pc:spChg chg="mod">
          <ac:chgData name="이 지상" userId="52e16c35b1c96571" providerId="LiveId" clId="{E3E1CB2B-ED93-498B-9977-258471074ACD}" dt="2021-01-13T10:36:13.212" v="3556"/>
          <ac:spMkLst>
            <pc:docMk/>
            <pc:sldMk cId="2065336253" sldId="284"/>
            <ac:spMk id="2" creationId="{4803AC60-B1EB-4F45-9FAD-7E1C0E21014C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9" creationId="{201CC55D-ED54-4C5C-95E6-10947BD1103B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19" creationId="{C13237C8-E62C-4F0D-A318-BD6FB6C2D138}"/>
          </ac:spMkLst>
        </pc:spChg>
        <pc:spChg chg="add mod">
          <ac:chgData name="이 지상" userId="52e16c35b1c96571" providerId="LiveId" clId="{E3E1CB2B-ED93-498B-9977-258471074ACD}" dt="2021-01-13T10:25:41.877" v="2372" actId="20577"/>
          <ac:spMkLst>
            <pc:docMk/>
            <pc:sldMk cId="2065336253" sldId="284"/>
            <ac:spMk id="20" creationId="{3D9AA2F2-A2D5-45F5-95DF-5A17105A0F4B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21" creationId="{19C9EAEA-39D0-4B0E-A0EB-51E7B26740B1}"/>
          </ac:spMkLst>
        </pc:spChg>
        <pc:spChg chg="mod">
          <ac:chgData name="이 지상" userId="52e16c35b1c96571" providerId="LiveId" clId="{E3E1CB2B-ED93-498B-9977-258471074ACD}" dt="2021-01-13T10:05:49.431" v="469" actId="20577"/>
          <ac:spMkLst>
            <pc:docMk/>
            <pc:sldMk cId="2065336253" sldId="284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39" creationId="{19C9EAEA-39D0-4B0E-A0EB-51E7B26740B1}"/>
          </ac:spMkLst>
        </pc:spChg>
        <pc:grpChg chg="del">
          <ac:chgData name="이 지상" userId="52e16c35b1c96571" providerId="LiveId" clId="{E3E1CB2B-ED93-498B-9977-258471074ACD}" dt="2021-01-13T10:05:29.433" v="468"/>
          <ac:grpSpMkLst>
            <pc:docMk/>
            <pc:sldMk cId="2065336253" sldId="284"/>
            <ac:grpSpMk id="10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0:23:12.773" v="2205" actId="26606"/>
          <ac:grpSpMkLst>
            <pc:docMk/>
            <pc:sldMk cId="2065336253" sldId="284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0:25:38.041" v="2370" actId="1076"/>
          <ac:picMkLst>
            <pc:docMk/>
            <pc:sldMk cId="2065336253" sldId="284"/>
            <ac:picMk id="4" creationId="{B295898B-50AB-472A-B289-1CBDC2685F95}"/>
          </ac:picMkLst>
        </pc:picChg>
        <pc:picChg chg="del mod">
          <ac:chgData name="이 지상" userId="52e16c35b1c96571" providerId="LiveId" clId="{E3E1CB2B-ED93-498B-9977-258471074ACD}" dt="2021-01-13T10:23:17.988" v="2206" actId="478"/>
          <ac:picMkLst>
            <pc:docMk/>
            <pc:sldMk cId="2065336253" sldId="284"/>
            <ac:picMk id="6" creationId="{36B0CC5F-2661-4248-AAE9-8AC04D9C8A74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00:08.921" v="14"/>
        <pc:sldMkLst>
          <pc:docMk/>
          <pc:sldMk cId="4239199686" sldId="284"/>
        </pc:sldMkLst>
        <pc:spChg chg="add del">
          <ac:chgData name="이 지상" userId="52e16c35b1c96571" providerId="LiveId" clId="{E3E1CB2B-ED93-498B-9977-258471074ACD}" dt="2021-01-13T10:00:08.921" v="14"/>
          <ac:spMkLst>
            <pc:docMk/>
            <pc:sldMk cId="4239199686" sldId="284"/>
            <ac:spMk id="8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0:00:08.921" v="14"/>
          <ac:spMkLst>
            <pc:docMk/>
            <pc:sldMk cId="4239199686" sldId="284"/>
            <ac:spMk id="14" creationId="{E659831F-0D9A-4C63-9EBB-8435B85A440F}"/>
          </ac:spMkLst>
        </pc:spChg>
        <pc:grpChg chg="add del">
          <ac:chgData name="이 지상" userId="52e16c35b1c96571" providerId="LiveId" clId="{E3E1CB2B-ED93-498B-9977-258471074ACD}" dt="2021-01-13T10:00:08.921" v="14"/>
          <ac:grpSpMkLst>
            <pc:docMk/>
            <pc:sldMk cId="4239199686" sldId="284"/>
            <ac:grpSpMk id="10" creationId="{28FAF094-D087-493F-8DF9-A486C2D6BBAA}"/>
          </ac:grpSpMkLst>
        </pc:grpChg>
      </pc:sldChg>
      <pc:sldChg chg="addSp delSp add del setBg delDesignElem">
        <pc:chgData name="이 지상" userId="52e16c35b1c96571" providerId="LiveId" clId="{E3E1CB2B-ED93-498B-9977-258471074ACD}" dt="2021-01-13T10:00:08.353" v="13"/>
        <pc:sldMkLst>
          <pc:docMk/>
          <pc:sldMk cId="1752518321" sldId="285"/>
        </pc:sldMkLst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17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23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25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27" creationId="{19C9EAEA-39D0-4B0E-A0EB-51E7B26740B1}"/>
          </ac:spMkLst>
        </pc:spChg>
        <pc:grpChg chg="add del">
          <ac:chgData name="이 지상" userId="52e16c35b1c96571" providerId="LiveId" clId="{E3E1CB2B-ED93-498B-9977-258471074ACD}" dt="2021-01-13T10:00:08.353" v="13"/>
          <ac:grpSpMkLst>
            <pc:docMk/>
            <pc:sldMk cId="1752518321" sldId="285"/>
            <ac:grpSpMk id="19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0:33:53.030" v="3353"/>
        <pc:sldMkLst>
          <pc:docMk/>
          <pc:sldMk cId="2977325324" sldId="285"/>
        </pc:sldMkLst>
        <pc:spChg chg="mod">
          <ac:chgData name="이 지상" userId="52e16c35b1c96571" providerId="LiveId" clId="{E3E1CB2B-ED93-498B-9977-258471074ACD}" dt="2021-01-13T10:33:53.030" v="3353"/>
          <ac:spMkLst>
            <pc:docMk/>
            <pc:sldMk cId="2977325324" sldId="285"/>
            <ac:spMk id="2" creationId="{4803AC60-B1EB-4F45-9FAD-7E1C0E21014C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9" creationId="{201CC55D-ED54-4C5C-95E6-10947BD1103B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19" creationId="{C13237C8-E62C-4F0D-A318-BD6FB6C2D138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21" creationId="{19C9EAEA-39D0-4B0E-A0EB-51E7B26740B1}"/>
          </ac:spMkLst>
        </pc:spChg>
        <pc:spChg chg="mod">
          <ac:chgData name="이 지상" userId="52e16c35b1c96571" providerId="LiveId" clId="{E3E1CB2B-ED93-498B-9977-258471074ACD}" dt="2021-01-13T10:16:05.001" v="1540" actId="14100"/>
          <ac:spMkLst>
            <pc:docMk/>
            <pc:sldMk cId="2977325324" sldId="285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39" creationId="{19C9EAEA-39D0-4B0E-A0EB-51E7B26740B1}"/>
          </ac:spMkLst>
        </pc:spChg>
        <pc:grpChg chg="del">
          <ac:chgData name="이 지상" userId="52e16c35b1c96571" providerId="LiveId" clId="{E3E1CB2B-ED93-498B-9977-258471074ACD}" dt="2021-01-13T10:06:49.435" v="471"/>
          <ac:grpSpMkLst>
            <pc:docMk/>
            <pc:sldMk cId="2977325324" sldId="285"/>
            <ac:grpSpMk id="10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0:10:44.230" v="1262" actId="26606"/>
          <ac:grpSpMkLst>
            <pc:docMk/>
            <pc:sldMk cId="2977325324" sldId="285"/>
            <ac:grpSpMk id="31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0:15:52.629" v="1538" actId="478"/>
          <ac:picMkLst>
            <pc:docMk/>
            <pc:sldMk cId="2977325324" sldId="285"/>
            <ac:picMk id="6" creationId="{36B0CC5F-2661-4248-AAE9-8AC04D9C8A74}"/>
          </ac:picMkLst>
        </pc:picChg>
        <pc:picChg chg="add mod">
          <ac:chgData name="이 지상" userId="52e16c35b1c96571" providerId="LiveId" clId="{E3E1CB2B-ED93-498B-9977-258471074ACD}" dt="2021-01-13T10:15:55.771" v="1539"/>
          <ac:picMkLst>
            <pc:docMk/>
            <pc:sldMk cId="2977325324" sldId="285"/>
            <ac:picMk id="20" creationId="{7609DB2B-B4EB-47ED-AA7B-714ED8B6FDFE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00:07.848" v="12"/>
        <pc:sldMkLst>
          <pc:docMk/>
          <pc:sldMk cId="2050663650" sldId="286"/>
        </pc:sldMkLst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12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18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2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22" creationId="{19C9EAEA-39D0-4B0E-A0EB-51E7B26740B1}"/>
          </ac:spMkLst>
        </pc:spChg>
        <pc:grpChg chg="add del">
          <ac:chgData name="이 지상" userId="52e16c35b1c96571" providerId="LiveId" clId="{E3E1CB2B-ED93-498B-9977-258471074ACD}" dt="2021-01-13T10:00:07.848" v="12"/>
          <ac:grpSpMkLst>
            <pc:docMk/>
            <pc:sldMk cId="2050663650" sldId="286"/>
            <ac:grpSpMk id="14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0:35:03.471" v="3442" actId="255"/>
        <pc:sldMkLst>
          <pc:docMk/>
          <pc:sldMk cId="2738078864" sldId="286"/>
        </pc:sldMkLst>
        <pc:spChg chg="mod">
          <ac:chgData name="이 지상" userId="52e16c35b1c96571" providerId="LiveId" clId="{E3E1CB2B-ED93-498B-9977-258471074ACD}" dt="2021-01-13T10:35:03.471" v="3442" actId="255"/>
          <ac:spMkLst>
            <pc:docMk/>
            <pc:sldMk cId="2738078864" sldId="286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15:28.996" v="1537" actId="20577"/>
          <ac:spMkLst>
            <pc:docMk/>
            <pc:sldMk cId="2738078864" sldId="286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26" creationId="{201CC55D-ED54-4C5C-95E6-10947BD1103B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30" creationId="{C13237C8-E62C-4F0D-A318-BD6FB6C2D138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35" creationId="{3873B707-463F-40B0-8227-E8CC6C67EB25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39" creationId="{19C9EAEA-39D0-4B0E-A0EB-51E7B26740B1}"/>
          </ac:spMkLst>
        </pc:spChg>
        <pc:grpChg chg="add">
          <ac:chgData name="이 지상" userId="52e16c35b1c96571" providerId="LiveId" clId="{E3E1CB2B-ED93-498B-9977-258471074ACD}" dt="2021-01-13T10:12:49.732" v="1265" actId="26606"/>
          <ac:grpSpMkLst>
            <pc:docMk/>
            <pc:sldMk cId="2738078864" sldId="286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0:11:31.144" v="1264"/>
          <ac:grpSpMkLst>
            <pc:docMk/>
            <pc:sldMk cId="2738078864" sldId="286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0:13:04.612" v="1273" actId="1076"/>
          <ac:picMkLst>
            <pc:docMk/>
            <pc:sldMk cId="2738078864" sldId="286"/>
            <ac:picMk id="4" creationId="{4683804F-F0A9-4DAA-9A33-F79749713CE6}"/>
          </ac:picMkLst>
        </pc:picChg>
        <pc:picChg chg="del">
          <ac:chgData name="이 지상" userId="52e16c35b1c96571" providerId="LiveId" clId="{E3E1CB2B-ED93-498B-9977-258471074ACD}" dt="2021-01-13T10:12:50.633" v="1266" actId="478"/>
          <ac:picMkLst>
            <pc:docMk/>
            <pc:sldMk cId="2738078864" sldId="286"/>
            <ac:picMk id="6" creationId="{36B0CC5F-2661-4248-AAE9-8AC04D9C8A74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0:22:58.771" v="2204"/>
        <pc:sldMkLst>
          <pc:docMk/>
          <pc:sldMk cId="3260374831" sldId="287"/>
        </pc:sldMkLst>
        <pc:spChg chg="mo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22:58.771" v="2204"/>
          <ac:spMkLst>
            <pc:docMk/>
            <pc:sldMk cId="3260374831" sldId="287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0:18:31.364" v="1542"/>
          <ac:spMkLst>
            <pc:docMk/>
            <pc:sldMk cId="3260374831" sldId="287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15" creationId="{117AB3D3-3C9C-4DED-809A-78734805B895}"/>
          </ac:spMkLst>
        </pc:spChg>
        <pc:spChg chg="del">
          <ac:chgData name="이 지상" userId="52e16c35b1c96571" providerId="LiveId" clId="{E3E1CB2B-ED93-498B-9977-258471074ACD}" dt="2021-01-13T10:18:31.364" v="1542"/>
          <ac:spMkLst>
            <pc:docMk/>
            <pc:sldMk cId="3260374831" sldId="287"/>
            <ac:spMk id="18" creationId="{E659831F-0D9A-4C63-9EBB-8435B85A440F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0" creationId="{3A9A4357-BD1D-4622-A4FE-766E6AB8DE84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2" creationId="{E659831F-0D9A-4C63-9EBB-8435B85A440F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4" creationId="{E6995CE5-F890-4ABA-82A2-26507CE8D2A3}"/>
          </ac:spMkLst>
        </pc:spChg>
        <pc:grpChg chg="del">
          <ac:chgData name="이 지상" userId="52e16c35b1c96571" providerId="LiveId" clId="{E3E1CB2B-ED93-498B-9977-258471074ACD}" dt="2021-01-13T10:18:31.364" v="1542"/>
          <ac:grpSpMkLst>
            <pc:docMk/>
            <pc:sldMk cId="3260374831" sldId="287"/>
            <ac:grpSpMk id="14" creationId="{28FAF094-D087-493F-8DF9-A486C2D6BBAA}"/>
          </ac:grpSpMkLst>
        </pc:grpChg>
        <pc:picChg chg="del mod">
          <ac:chgData name="이 지상" userId="52e16c35b1c96571" providerId="LiveId" clId="{E3E1CB2B-ED93-498B-9977-258471074ACD}" dt="2021-01-13T10:18:50.051" v="1578" actId="478"/>
          <ac:picMkLst>
            <pc:docMk/>
            <pc:sldMk cId="3260374831" sldId="287"/>
            <ac:picMk id="13" creationId="{CDCCC3F6-BDE6-4B63-B1A0-4BC005C972F1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0:32:50.264" v="3248" actId="26606"/>
        <pc:sldMkLst>
          <pc:docMk/>
          <pc:sldMk cId="2758524414" sldId="288"/>
        </pc:sldMkLst>
        <pc:spChg chg="mod">
          <ac:chgData name="이 지상" userId="52e16c35b1c96571" providerId="LiveId" clId="{E3E1CB2B-ED93-498B-9977-258471074ACD}" dt="2021-01-13T10:32:50.264" v="3248" actId="26606"/>
          <ac:spMkLst>
            <pc:docMk/>
            <pc:sldMk cId="2758524414" sldId="288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32:50.264" v="3248" actId="26606"/>
          <ac:spMkLst>
            <pc:docMk/>
            <pc:sldMk cId="2758524414" sldId="288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0:32:50.264" v="3248" actId="26606"/>
          <ac:spMkLst>
            <pc:docMk/>
            <pc:sldMk cId="2758524414" sldId="288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0:29:02.808" v="2605"/>
          <ac:spMkLst>
            <pc:docMk/>
            <pc:sldMk cId="2758524414" sldId="288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0:29:02.808" v="2605"/>
          <ac:spMkLst>
            <pc:docMk/>
            <pc:sldMk cId="2758524414" sldId="288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0:32:50.264" v="3248" actId="26606"/>
          <ac:grpSpMkLst>
            <pc:docMk/>
            <pc:sldMk cId="2758524414" sldId="288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0:29:02.808" v="2605"/>
          <ac:grpSpMkLst>
            <pc:docMk/>
            <pc:sldMk cId="2758524414" sldId="288"/>
            <ac:grpSpMk id="14" creationId="{28FAF094-D087-493F-8DF9-A486C2D6BBAA}"/>
          </ac:grpSpMkLst>
        </pc:grpChg>
        <pc:picChg chg="add del">
          <ac:chgData name="이 지상" userId="52e16c35b1c96571" providerId="LiveId" clId="{E3E1CB2B-ED93-498B-9977-258471074ACD}" dt="2021-01-13T10:29:14.045" v="2613" actId="478"/>
          <ac:picMkLst>
            <pc:docMk/>
            <pc:sldMk cId="2758524414" sldId="288"/>
            <ac:picMk id="13" creationId="{CDCCC3F6-BDE6-4B63-B1A0-4BC005C972F1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23:25.234" v="2209"/>
        <pc:sldMkLst>
          <pc:docMk/>
          <pc:sldMk cId="3604215067" sldId="288"/>
        </pc:sldMkLst>
        <pc:spChg chg="add del">
          <ac:chgData name="이 지상" userId="52e16c35b1c96571" providerId="LiveId" clId="{E3E1CB2B-ED93-498B-9977-258471074ACD}" dt="2021-01-13T10:23:25.234" v="2209"/>
          <ac:spMkLst>
            <pc:docMk/>
            <pc:sldMk cId="3604215067" sldId="288"/>
            <ac:spMk id="12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0:23:25.234" v="2209"/>
          <ac:spMkLst>
            <pc:docMk/>
            <pc:sldMk cId="3604215067" sldId="288"/>
            <ac:spMk id="18" creationId="{E659831F-0D9A-4C63-9EBB-8435B85A440F}"/>
          </ac:spMkLst>
        </pc:spChg>
        <pc:grpChg chg="add del">
          <ac:chgData name="이 지상" userId="52e16c35b1c96571" providerId="LiveId" clId="{E3E1CB2B-ED93-498B-9977-258471074ACD}" dt="2021-01-13T10:23:25.234" v="2209"/>
          <ac:grpSpMkLst>
            <pc:docMk/>
            <pc:sldMk cId="3604215067" sldId="288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0:39:27.715" v="3977" actId="20577"/>
        <pc:sldMkLst>
          <pc:docMk/>
          <pc:sldMk cId="3503214582" sldId="289"/>
        </pc:sldMkLst>
        <pc:spChg chg="mod">
          <ac:chgData name="이 지상" userId="52e16c35b1c96571" providerId="LiveId" clId="{E3E1CB2B-ED93-498B-9977-258471074ACD}" dt="2021-01-13T10:37:35.646" v="3601"/>
          <ac:spMkLst>
            <pc:docMk/>
            <pc:sldMk cId="3503214582" sldId="289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39:27.715" v="3977" actId="20577"/>
          <ac:spMkLst>
            <pc:docMk/>
            <pc:sldMk cId="3503214582" sldId="289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37:24.418" v="3561" actId="26606"/>
          <ac:spMkLst>
            <pc:docMk/>
            <pc:sldMk cId="3503214582" sldId="289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15" creationId="{117AB3D3-3C9C-4DED-809A-78734805B895}"/>
          </ac:spMkLst>
        </pc:spChg>
        <pc:spChg chg="add">
          <ac:chgData name="이 지상" userId="52e16c35b1c96571" providerId="LiveId" clId="{E3E1CB2B-ED93-498B-9977-258471074ACD}" dt="2021-01-13T10:37:24.418" v="3561" actId="26606"/>
          <ac:spMkLst>
            <pc:docMk/>
            <pc:sldMk cId="3503214582" sldId="289"/>
            <ac:spMk id="18" creationId="{E659831F-0D9A-4C63-9EBB-8435B85A440F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20" creationId="{3A9A4357-BD1D-4622-A4FE-766E6AB8DE84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22" creationId="{E659831F-0D9A-4C63-9EBB-8435B85A440F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24" creationId="{E6995CE5-F890-4ABA-82A2-26507CE8D2A3}"/>
          </ac:spMkLst>
        </pc:spChg>
        <pc:grpChg chg="add">
          <ac:chgData name="이 지상" userId="52e16c35b1c96571" providerId="LiveId" clId="{E3E1CB2B-ED93-498B-9977-258471074ACD}" dt="2021-01-13T10:37:24.418" v="3561" actId="26606"/>
          <ac:grpSpMkLst>
            <pc:docMk/>
            <pc:sldMk cId="3503214582" sldId="289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0:43:56.581" v="4405" actId="14100"/>
        <pc:sldMkLst>
          <pc:docMk/>
          <pc:sldMk cId="4138902201" sldId="290"/>
        </pc:sldMkLst>
        <pc:spChg chg="mo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41:50.836" v="4060" actId="14100"/>
          <ac:spMkLst>
            <pc:docMk/>
            <pc:sldMk cId="4138902201" sldId="290"/>
            <ac:spMk id="7" creationId="{2260A6A2-82F8-410C-B05D-F9F149C06749}"/>
          </ac:spMkLst>
        </pc:spChg>
        <pc:spChg chg="mod">
          <ac:chgData name="이 지상" userId="52e16c35b1c96571" providerId="LiveId" clId="{E3E1CB2B-ED93-498B-9977-258471074ACD}" dt="2021-01-13T10:43:56.581" v="4405" actId="14100"/>
          <ac:spMkLst>
            <pc:docMk/>
            <pc:sldMk cId="4138902201" sldId="290"/>
            <ac:spMk id="20" creationId="{3D9AA2F2-A2D5-45F5-95DF-5A17105A0F4B}"/>
          </ac:spMkLst>
        </pc:spChg>
        <pc:spChg chg="mod">
          <ac:chgData name="이 지상" userId="52e16c35b1c96571" providerId="LiveId" clId="{E3E1CB2B-ED93-498B-9977-258471074ACD}" dt="2021-01-13T10:41:11.699" v="4048" actId="14100"/>
          <ac:spMkLst>
            <pc:docMk/>
            <pc:sldMk cId="4138902201" sldId="290"/>
            <ac:spMk id="24" creationId="{D52E601E-10DE-400B-82DB-ED97179B4ADE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26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29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3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36" creationId="{117AB3D3-3C9C-4DED-809A-78734805B895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41" creationId="{3A9A4357-BD1D-4622-A4FE-766E6AB8DE84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43" creationId="{E659831F-0D9A-4C63-9EBB-8435B85A440F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45" creationId="{E6995CE5-F890-4ABA-82A2-26507CE8D2A3}"/>
          </ac:spMkLst>
        </pc:spChg>
        <pc:grpChg chg="add del">
          <ac:chgData name="이 지상" userId="52e16c35b1c96571" providerId="LiveId" clId="{E3E1CB2B-ED93-498B-9977-258471074ACD}" dt="2021-01-13T10:40:53.813" v="4041" actId="26606"/>
          <ac:grpSpMkLst>
            <pc:docMk/>
            <pc:sldMk cId="4138902201" sldId="290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0:39:34.639" v="3979"/>
          <ac:grpSpMkLst>
            <pc:docMk/>
            <pc:sldMk cId="4138902201" sldId="290"/>
            <ac:grpSpMk id="31" creationId="{1DE889C7-FAD6-4397-98E2-05D503484459}"/>
          </ac:grpSpMkLst>
        </pc:grpChg>
        <pc:picChg chg="del mod ord">
          <ac:chgData name="이 지상" userId="52e16c35b1c96571" providerId="LiveId" clId="{E3E1CB2B-ED93-498B-9977-258471074ACD}" dt="2021-01-13T10:39:42.847" v="3984" actId="478"/>
          <ac:picMkLst>
            <pc:docMk/>
            <pc:sldMk cId="4138902201" sldId="290"/>
            <ac:picMk id="4" creationId="{B295898B-50AB-472A-B289-1CBDC2685F95}"/>
          </ac:picMkLst>
        </pc:picChg>
        <pc:picChg chg="add del mod ord">
          <ac:chgData name="이 지상" userId="52e16c35b1c96571" providerId="LiveId" clId="{E3E1CB2B-ED93-498B-9977-258471074ACD}" dt="2021-01-13T10:40:56.167" v="4042" actId="21"/>
          <ac:picMkLst>
            <pc:docMk/>
            <pc:sldMk cId="4138902201" sldId="290"/>
            <ac:picMk id="5" creationId="{2FB61755-5EA1-4D3E-B607-AE35E3EB8A07}"/>
          </ac:picMkLst>
        </pc:picChg>
        <pc:picChg chg="add mod">
          <ac:chgData name="이 지상" userId="52e16c35b1c96571" providerId="LiveId" clId="{E3E1CB2B-ED93-498B-9977-258471074ACD}" dt="2021-01-13T10:41:41.177" v="4057" actId="1076"/>
          <ac:picMkLst>
            <pc:docMk/>
            <pc:sldMk cId="4138902201" sldId="290"/>
            <ac:picMk id="8" creationId="{C89D3C0F-7C01-434F-8846-B125B48461BB}"/>
          </ac:picMkLst>
        </pc:picChg>
        <pc:picChg chg="add del mod">
          <ac:chgData name="이 지상" userId="52e16c35b1c96571" providerId="LiveId" clId="{E3E1CB2B-ED93-498B-9977-258471074ACD}" dt="2021-01-13T10:41:02.889" v="4045" actId="478"/>
          <ac:picMkLst>
            <pc:docMk/>
            <pc:sldMk cId="4138902201" sldId="290"/>
            <ac:picMk id="25" creationId="{2ABFDDCE-408A-445B-9471-B9B7E2F8D99D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01:20.837" v="5544" actId="20577"/>
        <pc:sldMkLst>
          <pc:docMk/>
          <pc:sldMk cId="2167688922" sldId="291"/>
        </pc:sldMkLst>
        <pc:spChg chg="mod">
          <ac:chgData name="이 지상" userId="52e16c35b1c96571" providerId="LiveId" clId="{E3E1CB2B-ED93-498B-9977-258471074ACD}" dt="2021-01-13T10:53:54.473" v="5000"/>
          <ac:spMkLst>
            <pc:docMk/>
            <pc:sldMk cId="2167688922" sldId="291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01:20.837" v="5544" actId="20577"/>
          <ac:spMkLst>
            <pc:docMk/>
            <pc:sldMk cId="2167688922" sldId="291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53:38.997" v="4954" actId="26606"/>
          <ac:spMkLst>
            <pc:docMk/>
            <pc:sldMk cId="2167688922" sldId="291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0:53:38.997" v="4954" actId="26606"/>
          <ac:spMkLst>
            <pc:docMk/>
            <pc:sldMk cId="2167688922" sldId="291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0:53:31.085" v="4951"/>
          <ac:spMkLst>
            <pc:docMk/>
            <pc:sldMk cId="2167688922" sldId="291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0:53:31.085" v="4951"/>
          <ac:spMkLst>
            <pc:docMk/>
            <pc:sldMk cId="2167688922" sldId="291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0:53:38.997" v="4954" actId="26606"/>
          <ac:grpSpMkLst>
            <pc:docMk/>
            <pc:sldMk cId="2167688922" sldId="291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0:53:31.085" v="4951"/>
          <ac:grpSpMkLst>
            <pc:docMk/>
            <pc:sldMk cId="2167688922" sldId="291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1:16:12.839" v="6464" actId="20577"/>
        <pc:sldMkLst>
          <pc:docMk/>
          <pc:sldMk cId="588940706" sldId="292"/>
        </pc:sldMkLst>
        <pc:spChg chg="mod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7" creationId="{2260A6A2-82F8-410C-B05D-F9F149C06749}"/>
          </ac:spMkLst>
        </pc:spChg>
        <pc:spChg chg="mod">
          <ac:chgData name="이 지상" userId="52e16c35b1c96571" providerId="LiveId" clId="{E3E1CB2B-ED93-498B-9977-258471074ACD}" dt="2021-01-13T11:16:12.839" v="6464" actId="20577"/>
          <ac:spMkLst>
            <pc:docMk/>
            <pc:sldMk cId="588940706" sldId="292"/>
            <ac:spMk id="20" creationId="{3D9AA2F2-A2D5-45F5-95DF-5A17105A0F4B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26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29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3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35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36" creationId="{6ECA6DCB-B7E1-40A9-9524-540C6DA40B1B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37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38" creationId="{6ECA6DCB-B7E1-40A9-9524-540C6DA40B1B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39" creationId="{19C9EAEA-39D0-4B0E-A0EB-51E7B26740B1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45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47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48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49" creationId="{19C9EAEA-39D0-4B0E-A0EB-51E7B26740B1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5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51" creationId="{8CB5D2D7-DF65-4E86-BFBA-FFB9B5ACEB64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52" creationId="{19C9EAEA-39D0-4B0E-A0EB-51E7B26740B1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53" creationId="{8CB5D2D7-DF65-4E86-BFBA-FFB9B5ACEB64}"/>
          </ac:spMkLst>
        </pc:spChg>
        <pc:grpChg chg="add del">
          <ac:chgData name="이 지상" userId="52e16c35b1c96571" providerId="LiveId" clId="{E3E1CB2B-ED93-498B-9977-258471074ACD}" dt="2021-01-13T11:08:07.032" v="5903" actId="26606"/>
          <ac:grpSpMkLst>
            <pc:docMk/>
            <pc:sldMk cId="588940706" sldId="292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1:01:56.323" v="5546"/>
          <ac:grpSpMkLst>
            <pc:docMk/>
            <pc:sldMk cId="588940706" sldId="292"/>
            <ac:grpSpMk id="31" creationId="{1DE889C7-FAD6-4397-98E2-05D503484459}"/>
          </ac:grpSpMkLst>
        </pc:grpChg>
        <pc:grpChg chg="add del">
          <ac:chgData name="이 지상" userId="52e16c35b1c96571" providerId="LiveId" clId="{E3E1CB2B-ED93-498B-9977-258471074ACD}" dt="2021-01-13T11:08:07.032" v="5903" actId="26606"/>
          <ac:grpSpMkLst>
            <pc:docMk/>
            <pc:sldMk cId="588940706" sldId="292"/>
            <ac:grpSpMk id="40" creationId="{1DE889C7-FAD6-4397-98E2-05D503484459}"/>
          </ac:grpSpMkLst>
        </pc:grpChg>
        <pc:grpChg chg="add del">
          <ac:chgData name="이 지상" userId="52e16c35b1c96571" providerId="LiveId" clId="{E3E1CB2B-ED93-498B-9977-258471074ACD}" dt="2021-01-13T11:07:37.824" v="5889" actId="26606"/>
          <ac:grpSpMkLst>
            <pc:docMk/>
            <pc:sldMk cId="588940706" sldId="292"/>
            <ac:grpSpMk id="41" creationId="{1DE889C7-FAD6-4397-98E2-05D503484459}"/>
          </ac:grpSpMkLst>
        </pc:grpChg>
        <pc:picChg chg="del mod ord">
          <ac:chgData name="이 지상" userId="52e16c35b1c96571" providerId="LiveId" clId="{E3E1CB2B-ED93-498B-9977-258471074ACD}" dt="2021-01-13T11:02:38.548" v="5603" actId="478"/>
          <ac:picMkLst>
            <pc:docMk/>
            <pc:sldMk cId="588940706" sldId="292"/>
            <ac:picMk id="4" creationId="{B295898B-50AB-472A-B289-1CBDC2685F95}"/>
          </ac:picMkLst>
        </pc:picChg>
        <pc:picChg chg="add mod ord">
          <ac:chgData name="이 지상" userId="52e16c35b1c96571" providerId="LiveId" clId="{E3E1CB2B-ED93-498B-9977-258471074ACD}" dt="2021-01-13T11:08:38.368" v="5915" actId="1076"/>
          <ac:picMkLst>
            <pc:docMk/>
            <pc:sldMk cId="588940706" sldId="292"/>
            <ac:picMk id="5" creationId="{FD11E8DF-392C-4F91-97BD-BEDB753DBADF}"/>
          </ac:picMkLst>
        </pc:picChg>
        <pc:picChg chg="add del mod ord">
          <ac:chgData name="이 지상" userId="52e16c35b1c96571" providerId="LiveId" clId="{E3E1CB2B-ED93-498B-9977-258471074ACD}" dt="2021-01-13T11:08:08.077" v="5904" actId="22"/>
          <ac:picMkLst>
            <pc:docMk/>
            <pc:sldMk cId="588940706" sldId="292"/>
            <ac:picMk id="8" creationId="{E1254F8E-B593-4EBC-8BAD-2BA4950DE9CC}"/>
          </ac:picMkLst>
        </pc:picChg>
        <pc:picChg chg="add mod">
          <ac:chgData name="이 지상" userId="52e16c35b1c96571" providerId="LiveId" clId="{E3E1CB2B-ED93-498B-9977-258471074ACD}" dt="2021-01-13T11:08:36.327" v="5914" actId="1076"/>
          <ac:picMkLst>
            <pc:docMk/>
            <pc:sldMk cId="588940706" sldId="292"/>
            <ac:picMk id="10" creationId="{BEB0E130-7AE7-491D-A952-73744B1348FC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36:38.975" v="8092" actId="20577"/>
        <pc:sldMkLst>
          <pc:docMk/>
          <pc:sldMk cId="4177396927" sldId="293"/>
        </pc:sldMkLst>
        <pc:spChg chg="mod">
          <ac:chgData name="이 지상" userId="52e16c35b1c96571" providerId="LiveId" clId="{E3E1CB2B-ED93-498B-9977-258471074ACD}" dt="2021-01-13T11:29:59.034" v="7423" actId="255"/>
          <ac:spMkLst>
            <pc:docMk/>
            <pc:sldMk cId="4177396927" sldId="293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36:38.975" v="8092" actId="20577"/>
          <ac:spMkLst>
            <pc:docMk/>
            <pc:sldMk cId="4177396927" sldId="293"/>
            <ac:spMk id="20" creationId="{3D9AA2F2-A2D5-45F5-95DF-5A17105A0F4B}"/>
          </ac:spMkLst>
        </pc:spChg>
        <pc:spChg chg="mod">
          <ac:chgData name="이 지상" userId="52e16c35b1c96571" providerId="LiveId" clId="{E3E1CB2B-ED93-498B-9977-258471074ACD}" dt="2021-01-13T11:33:03.846" v="7947" actId="14100"/>
          <ac:spMkLst>
            <pc:docMk/>
            <pc:sldMk cId="4177396927" sldId="293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26" creationId="{201CC55D-ED54-4C5C-95E6-10947BD1103B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30" creationId="{C13237C8-E62C-4F0D-A318-BD6FB6C2D138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35" creationId="{3873B707-463F-40B0-8227-E8CC6C67EB25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39" creationId="{19C9EAEA-39D0-4B0E-A0EB-51E7B26740B1}"/>
          </ac:spMkLst>
        </pc:spChg>
        <pc:grpChg chg="add">
          <ac:chgData name="이 지상" userId="52e16c35b1c96571" providerId="LiveId" clId="{E3E1CB2B-ED93-498B-9977-258471074ACD}" dt="2021-01-13T11:29:14.185" v="7312" actId="26606"/>
          <ac:grpSpMkLst>
            <pc:docMk/>
            <pc:sldMk cId="4177396927" sldId="293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1:01:56.557" v="5548"/>
          <ac:grpSpMkLst>
            <pc:docMk/>
            <pc:sldMk cId="4177396927" sldId="293"/>
            <ac:grpSpMk id="31" creationId="{1DE889C7-FAD6-4397-98E2-05D503484459}"/>
          </ac:grpSpMkLst>
        </pc:grpChg>
        <pc:picChg chg="del mod ord">
          <ac:chgData name="이 지상" userId="52e16c35b1c96571" providerId="LiveId" clId="{E3E1CB2B-ED93-498B-9977-258471074ACD}" dt="2021-01-13T11:30:00.493" v="7424" actId="478"/>
          <ac:picMkLst>
            <pc:docMk/>
            <pc:sldMk cId="4177396927" sldId="293"/>
            <ac:picMk id="4" creationId="{B295898B-50AB-472A-B289-1CBDC2685F95}"/>
          </ac:picMkLst>
        </pc:picChg>
        <pc:picChg chg="add mod">
          <ac:chgData name="이 지상" userId="52e16c35b1c96571" providerId="LiveId" clId="{E3E1CB2B-ED93-498B-9977-258471074ACD}" dt="2021-01-13T11:30:42.961" v="7435" actId="1076"/>
          <ac:picMkLst>
            <pc:docMk/>
            <pc:sldMk cId="4177396927" sldId="293"/>
            <ac:picMk id="5" creationId="{C152D0F4-CFD3-4B4A-B559-A1EA0D0F4F34}"/>
          </ac:picMkLst>
        </pc:picChg>
        <pc:picChg chg="add mod">
          <ac:chgData name="이 지상" userId="52e16c35b1c96571" providerId="LiveId" clId="{E3E1CB2B-ED93-498B-9977-258471074ACD}" dt="2021-01-13T11:30:46.679" v="7438" actId="1076"/>
          <ac:picMkLst>
            <pc:docMk/>
            <pc:sldMk cId="4177396927" sldId="293"/>
            <ac:picMk id="8" creationId="{6DFDC4E6-1F03-4F98-B7BC-A1BC01076A21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28:02.893" v="7311" actId="20577"/>
        <pc:sldMkLst>
          <pc:docMk/>
          <pc:sldMk cId="4044710872" sldId="294"/>
        </pc:sldMkLst>
        <pc:spChg chg="mod">
          <ac:chgData name="이 지상" userId="52e16c35b1c96571" providerId="LiveId" clId="{E3E1CB2B-ED93-498B-9977-258471074ACD}" dt="2021-01-13T11:20:23.515" v="6572" actId="1076"/>
          <ac:spMkLst>
            <pc:docMk/>
            <pc:sldMk cId="4044710872" sldId="294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28:02.893" v="7311" actId="20577"/>
          <ac:spMkLst>
            <pc:docMk/>
            <pc:sldMk cId="4044710872" sldId="294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1:16:27.141" v="6466"/>
          <ac:spMkLst>
            <pc:docMk/>
            <pc:sldMk cId="4044710872" sldId="294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1:16:27.141" v="6466"/>
          <ac:spMkLst>
            <pc:docMk/>
            <pc:sldMk cId="4044710872" sldId="294"/>
            <ac:spMk id="11" creationId="{E659831F-0D9A-4C63-9EBB-8435B85A440F}"/>
          </ac:spMkLst>
        </pc:spChg>
        <pc:spChg chg="add">
          <ac:chgData name="이 지상" userId="52e16c35b1c96571" providerId="LiveId" clId="{E3E1CB2B-ED93-498B-9977-258471074ACD}" dt="2021-01-13T11:16:33.998" v="6469" actId="26606"/>
          <ac:spMkLst>
            <pc:docMk/>
            <pc:sldMk cId="4044710872" sldId="294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1:16:33.998" v="6469" actId="26606"/>
          <ac:spMkLst>
            <pc:docMk/>
            <pc:sldMk cId="4044710872" sldId="294"/>
            <ac:spMk id="18" creationId="{E659831F-0D9A-4C63-9EBB-8435B85A440F}"/>
          </ac:spMkLst>
        </pc:spChg>
        <pc:grpChg chg="del">
          <ac:chgData name="이 지상" userId="52e16c35b1c96571" providerId="LiveId" clId="{E3E1CB2B-ED93-498B-9977-258471074ACD}" dt="2021-01-13T11:16:27.141" v="6466"/>
          <ac:grpSpMkLst>
            <pc:docMk/>
            <pc:sldMk cId="4044710872" sldId="294"/>
            <ac:grpSpMk id="10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1:16:33.998" v="6469" actId="26606"/>
          <ac:grpSpMkLst>
            <pc:docMk/>
            <pc:sldMk cId="4044710872" sldId="294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1:50:16.364" v="9634" actId="20577"/>
        <pc:sldMkLst>
          <pc:docMk/>
          <pc:sldMk cId="4106414684" sldId="295"/>
        </pc:sldMkLst>
        <pc:spChg chg="mod">
          <ac:chgData name="이 지상" userId="52e16c35b1c96571" providerId="LiveId" clId="{E3E1CB2B-ED93-498B-9977-258471074ACD}" dt="2021-01-13T11:40:06.492" v="8126"/>
          <ac:spMkLst>
            <pc:docMk/>
            <pc:sldMk cId="4106414684" sldId="295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50:16.364" v="9634" actId="20577"/>
          <ac:spMkLst>
            <pc:docMk/>
            <pc:sldMk cId="4106414684" sldId="295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1:39:01.963" v="8097" actId="26606"/>
          <ac:spMkLst>
            <pc:docMk/>
            <pc:sldMk cId="4106414684" sldId="295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1:39:01.963" v="8097" actId="26606"/>
          <ac:spMkLst>
            <pc:docMk/>
            <pc:sldMk cId="4106414684" sldId="295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1:38:46.840" v="8094"/>
          <ac:spMkLst>
            <pc:docMk/>
            <pc:sldMk cId="4106414684" sldId="295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1:38:46.840" v="8094"/>
          <ac:spMkLst>
            <pc:docMk/>
            <pc:sldMk cId="4106414684" sldId="295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1:39:01.963" v="8097" actId="26606"/>
          <ac:grpSpMkLst>
            <pc:docMk/>
            <pc:sldMk cId="4106414684" sldId="295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1:38:46.840" v="8094"/>
          <ac:grpSpMkLst>
            <pc:docMk/>
            <pc:sldMk cId="4106414684" sldId="295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1:56:50.301" v="10171" actId="27636"/>
        <pc:sldMkLst>
          <pc:docMk/>
          <pc:sldMk cId="3656111672" sldId="296"/>
        </pc:sldMkLst>
        <pc:spChg chg="mod">
          <ac:chgData name="이 지상" userId="52e16c35b1c96571" providerId="LiveId" clId="{E3E1CB2B-ED93-498B-9977-258471074ACD}" dt="2021-01-13T11:52:54.952" v="9718" actId="20577"/>
          <ac:spMkLst>
            <pc:docMk/>
            <pc:sldMk cId="3656111672" sldId="296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56:50.301" v="10171" actId="27636"/>
          <ac:spMkLst>
            <pc:docMk/>
            <pc:sldMk cId="3656111672" sldId="296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1:50:29.922" v="9635" actId="26606"/>
          <ac:spMkLst>
            <pc:docMk/>
            <pc:sldMk cId="3656111672" sldId="296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1:50:29.922" v="9635" actId="26606"/>
          <ac:spMkLst>
            <pc:docMk/>
            <pc:sldMk cId="3656111672" sldId="296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1:42:36.323" v="8537"/>
          <ac:spMkLst>
            <pc:docMk/>
            <pc:sldMk cId="3656111672" sldId="296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1:42:36.323" v="8537"/>
          <ac:spMkLst>
            <pc:docMk/>
            <pc:sldMk cId="3656111672" sldId="296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1:50:29.922" v="9635" actId="26606"/>
          <ac:grpSpMkLst>
            <pc:docMk/>
            <pc:sldMk cId="3656111672" sldId="296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1:42:36.323" v="8537"/>
          <ac:grpSpMkLst>
            <pc:docMk/>
            <pc:sldMk cId="3656111672" sldId="296"/>
            <ac:grpSpMk id="14" creationId="{28FAF094-D087-493F-8DF9-A486C2D6BBAA}"/>
          </ac:grpSpMkLst>
        </pc:grpChg>
      </pc:sldChg>
      <pc:sldChg chg="addSp delSp modSp add del mod ord setBg delDesignElem">
        <pc:chgData name="이 지상" userId="52e16c35b1c96571" providerId="LiveId" clId="{E3E1CB2B-ED93-498B-9977-258471074ACD}" dt="2021-01-13T11:43:19.152" v="8547" actId="2696"/>
        <pc:sldMkLst>
          <pc:docMk/>
          <pc:sldMk cId="1769193371" sldId="297"/>
        </pc:sldMkLst>
        <pc:spChg chg="mo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7" creationId="{2260A6A2-82F8-410C-B05D-F9F149C06749}"/>
          </ac:spMkLst>
        </pc:spChg>
        <pc:spChg chg="or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0" creationId="{3D9AA2F2-A2D5-45F5-95DF-5A17105A0F4B}"/>
          </ac:spMkLst>
        </pc:spChg>
        <pc:spChg chg="or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4" creationId="{D52E601E-10DE-400B-82DB-ED97179B4ADE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26" creationId="{201CC55D-ED54-4C5C-95E6-10947BD1103B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28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9" creationId="{6ECA6DCB-B7E1-40A9-9524-540C6DA40B1B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30" creationId="{C13237C8-E62C-4F0D-A318-BD6FB6C2D138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34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41" creationId="{8CB5D2D7-DF65-4E86-BFBA-FFB9B5ACEB64}"/>
          </ac:spMkLst>
        </pc:spChg>
        <pc:grpChg chg="del">
          <ac:chgData name="이 지상" userId="52e16c35b1c96571" providerId="LiveId" clId="{E3E1CB2B-ED93-498B-9977-258471074ACD}" dt="2021-01-13T11:43:02.157" v="8541"/>
          <ac:grpSpMkLst>
            <pc:docMk/>
            <pc:sldMk cId="1769193371" sldId="297"/>
            <ac:grpSpMk id="27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1:43:07.837" v="8544" actId="26606"/>
          <ac:grpSpMkLst>
            <pc:docMk/>
            <pc:sldMk cId="1769193371" sldId="297"/>
            <ac:grpSpMk id="31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1:43:09.203" v="8545" actId="478"/>
          <ac:picMkLst>
            <pc:docMk/>
            <pc:sldMk cId="1769193371" sldId="297"/>
            <ac:picMk id="5" creationId="{C152D0F4-CFD3-4B4A-B559-A1EA0D0F4F34}"/>
          </ac:picMkLst>
        </pc:picChg>
        <pc:picChg chg="del mod">
          <ac:chgData name="이 지상" userId="52e16c35b1c96571" providerId="LiveId" clId="{E3E1CB2B-ED93-498B-9977-258471074ACD}" dt="2021-01-13T11:43:09.856" v="8546" actId="478"/>
          <ac:picMkLst>
            <pc:docMk/>
            <pc:sldMk cId="1769193371" sldId="297"/>
            <ac:picMk id="8" creationId="{6DFDC4E6-1F03-4F98-B7BC-A1BC01076A21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49:49.747" v="9622" actId="20577"/>
        <pc:sldMkLst>
          <pc:docMk/>
          <pc:sldMk cId="2090210189" sldId="297"/>
        </pc:sldMkLst>
        <pc:spChg chg="mod">
          <ac:chgData name="이 지상" userId="52e16c35b1c96571" providerId="LiveId" clId="{E3E1CB2B-ED93-498B-9977-258471074ACD}" dt="2021-01-13T11:46:22.894" v="8846" actId="27636"/>
          <ac:spMkLst>
            <pc:docMk/>
            <pc:sldMk cId="2090210189" sldId="29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7" creationId="{2260A6A2-82F8-410C-B05D-F9F149C06749}"/>
          </ac:spMkLst>
        </pc:spChg>
        <pc:spChg chg="mod">
          <ac:chgData name="이 지상" userId="52e16c35b1c96571" providerId="LiveId" clId="{E3E1CB2B-ED93-498B-9977-258471074ACD}" dt="2021-01-13T11:49:49.747" v="9622" actId="20577"/>
          <ac:spMkLst>
            <pc:docMk/>
            <pc:sldMk cId="2090210189" sldId="297"/>
            <ac:spMk id="20" creationId="{3D9AA2F2-A2D5-45F5-95DF-5A17105A0F4B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26" creationId="{201CC55D-ED54-4C5C-95E6-10947BD1103B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28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29" creationId="{6ECA6DCB-B7E1-40A9-9524-540C6DA40B1B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30" creationId="{C13237C8-E62C-4F0D-A318-BD6FB6C2D138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34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41" creationId="{8CB5D2D7-DF65-4E86-BFBA-FFB9B5ACEB64}"/>
          </ac:spMkLst>
        </pc:spChg>
        <pc:grpChg chg="del">
          <ac:chgData name="이 지상" userId="52e16c35b1c96571" providerId="LiveId" clId="{E3E1CB2B-ED93-498B-9977-258471074ACD}" dt="2021-01-13T11:43:23.627" v="8549"/>
          <ac:grpSpMkLst>
            <pc:docMk/>
            <pc:sldMk cId="2090210189" sldId="297"/>
            <ac:grpSpMk id="27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1:43:29.965" v="8552" actId="26606"/>
          <ac:grpSpMkLst>
            <pc:docMk/>
            <pc:sldMk cId="2090210189" sldId="297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1:45:48.674" v="8768" actId="1076"/>
          <ac:picMkLst>
            <pc:docMk/>
            <pc:sldMk cId="2090210189" sldId="297"/>
            <ac:picMk id="4" creationId="{D97DA832-5096-4753-9F7E-A9A9126389A2}"/>
          </ac:picMkLst>
        </pc:picChg>
        <pc:picChg chg="del mod ord">
          <ac:chgData name="이 지상" userId="52e16c35b1c96571" providerId="LiveId" clId="{E3E1CB2B-ED93-498B-9977-258471074ACD}" dt="2021-01-13T11:43:34.095" v="8554" actId="478"/>
          <ac:picMkLst>
            <pc:docMk/>
            <pc:sldMk cId="2090210189" sldId="297"/>
            <ac:picMk id="5" creationId="{FD11E8DF-392C-4F91-97BD-BEDB753DBADF}"/>
          </ac:picMkLst>
        </pc:picChg>
        <pc:picChg chg="add mod">
          <ac:chgData name="이 지상" userId="52e16c35b1c96571" providerId="LiveId" clId="{E3E1CB2B-ED93-498B-9977-258471074ACD}" dt="2021-01-13T11:45:47.418" v="8767" actId="1076"/>
          <ac:picMkLst>
            <pc:docMk/>
            <pc:sldMk cId="2090210189" sldId="297"/>
            <ac:picMk id="8" creationId="{DB9435A9-51F5-4BEA-A79B-A2268DEC08ED}"/>
          </ac:picMkLst>
        </pc:picChg>
        <pc:picChg chg="del mod ord">
          <ac:chgData name="이 지상" userId="52e16c35b1c96571" providerId="LiveId" clId="{E3E1CB2B-ED93-498B-9977-258471074ACD}" dt="2021-01-13T11:43:36.374" v="8555" actId="478"/>
          <ac:picMkLst>
            <pc:docMk/>
            <pc:sldMk cId="2090210189" sldId="297"/>
            <ac:picMk id="10" creationId="{BEB0E130-7AE7-491D-A952-73744B1348FC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2:03:39.950" v="10835" actId="14100"/>
        <pc:sldMkLst>
          <pc:docMk/>
          <pc:sldMk cId="78567017" sldId="298"/>
        </pc:sldMkLst>
        <pc:spChg chg="mod">
          <ac:chgData name="이 지상" userId="52e16c35b1c96571" providerId="LiveId" clId="{E3E1CB2B-ED93-498B-9977-258471074ACD}" dt="2021-01-13T11:57:26.058" v="10259" actId="255"/>
          <ac:spMkLst>
            <pc:docMk/>
            <pc:sldMk cId="78567017" sldId="298"/>
            <ac:spMk id="2" creationId="{4803AC60-B1EB-4F45-9FAD-7E1C0E21014C}"/>
          </ac:spMkLst>
        </pc:spChg>
        <pc:spChg chg="mod ord">
          <ac:chgData name="이 지상" userId="52e16c35b1c96571" providerId="LiveId" clId="{E3E1CB2B-ED93-498B-9977-258471074ACD}" dt="2021-01-13T12:03:39.950" v="10835" actId="14100"/>
          <ac:spMkLst>
            <pc:docMk/>
            <pc:sldMk cId="78567017" sldId="298"/>
            <ac:spMk id="20" creationId="{3D9AA2F2-A2D5-45F5-95DF-5A17105A0F4B}"/>
          </ac:spMkLst>
        </pc:spChg>
        <pc:spChg chg="or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26" creationId="{6ECA6DCB-B7E1-40A9-9524-540C6DA40B1B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29" creationId="{6ECA6DCB-B7E1-40A9-9524-540C6DA40B1B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30" creationId="{C13237C8-E62C-4F0D-A318-BD6FB6C2D138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36" creationId="{8CB5D2D7-DF65-4E86-BFBA-FFB9B5ACEB64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39" creationId="{19C9EAEA-39D0-4B0E-A0EB-51E7B26740B1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41" creationId="{8CB5D2D7-DF65-4E86-BFBA-FFB9B5ACEB64}"/>
          </ac:spMkLst>
        </pc:spChg>
        <pc:grpChg chg="add">
          <ac:chgData name="이 지상" userId="52e16c35b1c96571" providerId="LiveId" clId="{E3E1CB2B-ED93-498B-9977-258471074ACD}" dt="2021-01-13T11:56:55.617" v="10172" actId="26606"/>
          <ac:grpSpMkLst>
            <pc:docMk/>
            <pc:sldMk cId="78567017" sldId="298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1:51:01.190" v="9679"/>
          <ac:grpSpMkLst>
            <pc:docMk/>
            <pc:sldMk cId="78567017" sldId="298"/>
            <ac:grpSpMk id="31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2:00:58.613" v="10664" actId="478"/>
          <ac:picMkLst>
            <pc:docMk/>
            <pc:sldMk cId="78567017" sldId="298"/>
            <ac:picMk id="4" creationId="{D97DA832-5096-4753-9F7E-A9A9126389A2}"/>
          </ac:picMkLst>
        </pc:picChg>
        <pc:picChg chg="add mod">
          <ac:chgData name="이 지상" userId="52e16c35b1c96571" providerId="LiveId" clId="{E3E1CB2B-ED93-498B-9977-258471074ACD}" dt="2021-01-13T12:01:09.106" v="10669" actId="1076"/>
          <ac:picMkLst>
            <pc:docMk/>
            <pc:sldMk cId="78567017" sldId="298"/>
            <ac:picMk id="5" creationId="{4C3AAF7F-82A6-4600-94E3-E8396B89615C}"/>
          </ac:picMkLst>
        </pc:picChg>
        <pc:picChg chg="del mod">
          <ac:chgData name="이 지상" userId="52e16c35b1c96571" providerId="LiveId" clId="{E3E1CB2B-ED93-498B-9977-258471074ACD}" dt="2021-01-13T12:01:10.037" v="10670" actId="478"/>
          <ac:picMkLst>
            <pc:docMk/>
            <pc:sldMk cId="78567017" sldId="298"/>
            <ac:picMk id="8" creationId="{DB9435A9-51F5-4BEA-A79B-A2268DEC08ED}"/>
          </ac:picMkLst>
        </pc:picChg>
        <pc:picChg chg="add mod">
          <ac:chgData name="이 지상" userId="52e16c35b1c96571" providerId="LiveId" clId="{E3E1CB2B-ED93-498B-9977-258471074ACD}" dt="2021-01-13T12:01:34.407" v="10675" actId="14100"/>
          <ac:picMkLst>
            <pc:docMk/>
            <pc:sldMk cId="78567017" sldId="298"/>
            <ac:picMk id="9" creationId="{33CF0260-ECD0-494C-9D4F-08A41C803FCB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2:14:56.533" v="11613" actId="255"/>
        <pc:sldMkLst>
          <pc:docMk/>
          <pc:sldMk cId="2130287969" sldId="299"/>
        </pc:sldMkLst>
        <pc:spChg chg="mod">
          <ac:chgData name="이 지상" userId="52e16c35b1c96571" providerId="LiveId" clId="{E3E1CB2B-ED93-498B-9977-258471074ACD}" dt="2021-01-13T12:14:56.533" v="11613" actId="255"/>
          <ac:spMkLst>
            <pc:docMk/>
            <pc:sldMk cId="2130287969" sldId="299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14:36.744" v="11612" actId="20577"/>
          <ac:spMkLst>
            <pc:docMk/>
            <pc:sldMk cId="2130287969" sldId="299"/>
            <ac:spMk id="20" creationId="{3D9AA2F2-A2D5-45F5-95DF-5A17105A0F4B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26" creationId="{6ECA6DCB-B7E1-40A9-9524-540C6DA40B1B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28" creationId="{3873B707-463F-40B0-8227-E8CC6C67EB25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29" creationId="{6ECA6DCB-B7E1-40A9-9524-540C6DA40B1B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30" creationId="{C13237C8-E62C-4F0D-A318-BD6FB6C2D138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34" creationId="{19C9EAEA-39D0-4B0E-A0EB-51E7B26740B1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35" creationId="{3873B707-463F-40B0-8227-E8CC6C67EB25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36" creationId="{8CB5D2D7-DF65-4E86-BFBA-FFB9B5ACEB64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41" creationId="{8CB5D2D7-DF65-4E86-BFBA-FFB9B5ACEB64}"/>
          </ac:spMkLst>
        </pc:spChg>
        <pc:grpChg chg="del">
          <ac:chgData name="이 지상" userId="52e16c35b1c96571" providerId="LiveId" clId="{E3E1CB2B-ED93-498B-9977-258471074ACD}" dt="2021-01-13T12:06:42.136" v="10837"/>
          <ac:grpSpMkLst>
            <pc:docMk/>
            <pc:sldMk cId="2130287969" sldId="299"/>
            <ac:grpSpMk id="27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2:06:49.190" v="10838" actId="26606"/>
          <ac:grpSpMkLst>
            <pc:docMk/>
            <pc:sldMk cId="2130287969" sldId="299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2:08:43.191" v="10915" actId="1076"/>
          <ac:picMkLst>
            <pc:docMk/>
            <pc:sldMk cId="2130287969" sldId="299"/>
            <ac:picMk id="4" creationId="{528A4968-E748-47BE-AB63-2FC57D77AA97}"/>
          </ac:picMkLst>
        </pc:picChg>
        <pc:picChg chg="del mod ord">
          <ac:chgData name="이 지상" userId="52e16c35b1c96571" providerId="LiveId" clId="{E3E1CB2B-ED93-498B-9977-258471074ACD}" dt="2021-01-13T12:06:50.869" v="10841" actId="478"/>
          <ac:picMkLst>
            <pc:docMk/>
            <pc:sldMk cId="2130287969" sldId="299"/>
            <ac:picMk id="5" creationId="{4C3AAF7F-82A6-4600-94E3-E8396B89615C}"/>
          </ac:picMkLst>
        </pc:picChg>
        <pc:picChg chg="add mod">
          <ac:chgData name="이 지상" userId="52e16c35b1c96571" providerId="LiveId" clId="{E3E1CB2B-ED93-498B-9977-258471074ACD}" dt="2021-01-13T12:08:56.985" v="10918" actId="1076"/>
          <ac:picMkLst>
            <pc:docMk/>
            <pc:sldMk cId="2130287969" sldId="299"/>
            <ac:picMk id="8" creationId="{084A11DA-B2BC-4E85-AF44-302CF399615D}"/>
          </ac:picMkLst>
        </pc:picChg>
        <pc:picChg chg="del mod ord">
          <ac:chgData name="이 지상" userId="52e16c35b1c96571" providerId="LiveId" clId="{E3E1CB2B-ED93-498B-9977-258471074ACD}" dt="2021-01-13T12:06:50.489" v="10839" actId="478"/>
          <ac:picMkLst>
            <pc:docMk/>
            <pc:sldMk cId="2130287969" sldId="299"/>
            <ac:picMk id="9" creationId="{33CF0260-ECD0-494C-9D4F-08A41C803FCB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2:17:59.346" v="12185" actId="255"/>
        <pc:sldMkLst>
          <pc:docMk/>
          <pc:sldMk cId="1137170407" sldId="300"/>
        </pc:sldMkLst>
        <pc:spChg chg="mod">
          <ac:chgData name="이 지상" userId="52e16c35b1c96571" providerId="LiveId" clId="{E3E1CB2B-ED93-498B-9977-258471074ACD}" dt="2021-01-13T12:12:56.784" v="11545"/>
          <ac:spMkLst>
            <pc:docMk/>
            <pc:sldMk cId="1137170407" sldId="300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17:59.346" v="12185" actId="255"/>
          <ac:spMkLst>
            <pc:docMk/>
            <pc:sldMk cId="1137170407" sldId="300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12:28.116" v="11504"/>
          <ac:spMkLst>
            <pc:docMk/>
            <pc:sldMk cId="1137170407" sldId="300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12:28.116" v="11504"/>
          <ac:spMkLst>
            <pc:docMk/>
            <pc:sldMk cId="1137170407" sldId="300"/>
            <ac:spMk id="11" creationId="{E659831F-0D9A-4C63-9EBB-8435B85A440F}"/>
          </ac:spMkLst>
        </pc:spChg>
        <pc:spChg chg="add">
          <ac:chgData name="이 지상" userId="52e16c35b1c96571" providerId="LiveId" clId="{E3E1CB2B-ED93-498B-9977-258471074ACD}" dt="2021-01-13T12:12:39.217" v="11511" actId="26606"/>
          <ac:spMkLst>
            <pc:docMk/>
            <pc:sldMk cId="1137170407" sldId="300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2:12:39.217" v="11511" actId="26606"/>
          <ac:spMkLst>
            <pc:docMk/>
            <pc:sldMk cId="1137170407" sldId="300"/>
            <ac:spMk id="18" creationId="{E659831F-0D9A-4C63-9EBB-8435B85A440F}"/>
          </ac:spMkLst>
        </pc:spChg>
        <pc:grpChg chg="del">
          <ac:chgData name="이 지상" userId="52e16c35b1c96571" providerId="LiveId" clId="{E3E1CB2B-ED93-498B-9977-258471074ACD}" dt="2021-01-13T12:12:28.116" v="11504"/>
          <ac:grpSpMkLst>
            <pc:docMk/>
            <pc:sldMk cId="1137170407" sldId="300"/>
            <ac:grpSpMk id="10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2:12:39.217" v="11511" actId="26606"/>
          <ac:grpSpMkLst>
            <pc:docMk/>
            <pc:sldMk cId="1137170407" sldId="300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2:22:47.380" v="13155" actId="14100"/>
        <pc:sldMkLst>
          <pc:docMk/>
          <pc:sldMk cId="826452187" sldId="301"/>
        </pc:sldMkLst>
        <pc:spChg chg="mod">
          <ac:chgData name="이 지상" userId="52e16c35b1c96571" providerId="LiveId" clId="{E3E1CB2B-ED93-498B-9977-258471074ACD}" dt="2021-01-13T12:13:03.771" v="11563"/>
          <ac:spMkLst>
            <pc:docMk/>
            <pc:sldMk cId="826452187" sldId="301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22:47.380" v="13155" actId="14100"/>
          <ac:spMkLst>
            <pc:docMk/>
            <pc:sldMk cId="826452187" sldId="301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12:28.778" v="11506"/>
          <ac:spMkLst>
            <pc:docMk/>
            <pc:sldMk cId="826452187" sldId="301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12:28.778" v="11506"/>
          <ac:spMkLst>
            <pc:docMk/>
            <pc:sldMk cId="826452187" sldId="301"/>
            <ac:spMk id="11" creationId="{E659831F-0D9A-4C63-9EBB-8435B85A440F}"/>
          </ac:spMkLst>
        </pc:spChg>
        <pc:spChg chg="add">
          <ac:chgData name="이 지상" userId="52e16c35b1c96571" providerId="LiveId" clId="{E3E1CB2B-ED93-498B-9977-258471074ACD}" dt="2021-01-13T12:12:41.839" v="11512" actId="26606"/>
          <ac:spMkLst>
            <pc:docMk/>
            <pc:sldMk cId="826452187" sldId="301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2:12:41.839" v="11512" actId="26606"/>
          <ac:spMkLst>
            <pc:docMk/>
            <pc:sldMk cId="826452187" sldId="301"/>
            <ac:spMk id="18" creationId="{E659831F-0D9A-4C63-9EBB-8435B85A440F}"/>
          </ac:spMkLst>
        </pc:spChg>
        <pc:grpChg chg="del">
          <ac:chgData name="이 지상" userId="52e16c35b1c96571" providerId="LiveId" clId="{E3E1CB2B-ED93-498B-9977-258471074ACD}" dt="2021-01-13T12:12:28.778" v="11506"/>
          <ac:grpSpMkLst>
            <pc:docMk/>
            <pc:sldMk cId="826452187" sldId="301"/>
            <ac:grpSpMk id="10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2:12:41.839" v="11512" actId="26606"/>
          <ac:grpSpMkLst>
            <pc:docMk/>
            <pc:sldMk cId="826452187" sldId="301"/>
            <ac:grpSpMk id="14" creationId="{28FAF094-D087-493F-8DF9-A486C2D6BBAA}"/>
          </ac:grpSpMkLst>
        </pc:grpChg>
      </pc:sldChg>
      <pc:sldChg chg="modSp add mod">
        <pc:chgData name="이 지상" userId="52e16c35b1c96571" providerId="LiveId" clId="{E3E1CB2B-ED93-498B-9977-258471074ACD}" dt="2021-01-13T12:24:32.528" v="13232"/>
        <pc:sldMkLst>
          <pc:docMk/>
          <pc:sldMk cId="4002773261" sldId="302"/>
        </pc:sldMkLst>
        <pc:spChg chg="mod">
          <ac:chgData name="이 지상" userId="52e16c35b1c96571" providerId="LiveId" clId="{E3E1CB2B-ED93-498B-9977-258471074ACD}" dt="2021-01-13T12:24:32.528" v="13232"/>
          <ac:spMkLst>
            <pc:docMk/>
            <pc:sldMk cId="4002773261" sldId="302"/>
            <ac:spMk id="5" creationId="{00000000-0000-0000-0000-000000000000}"/>
          </ac:spMkLst>
        </pc:spChg>
      </pc:sldChg>
      <pc:sldChg chg="addSp delSp modSp add mod setBg delDesignElem">
        <pc:chgData name="이 지상" userId="52e16c35b1c96571" providerId="LiveId" clId="{E3E1CB2B-ED93-498B-9977-258471074ACD}" dt="2021-01-13T12:37:38.915" v="13717" actId="20577"/>
        <pc:sldMkLst>
          <pc:docMk/>
          <pc:sldMk cId="3818577173" sldId="303"/>
        </pc:sldMkLst>
        <pc:spChg chg="mod">
          <ac:chgData name="이 지상" userId="52e16c35b1c96571" providerId="LiveId" clId="{E3E1CB2B-ED93-498B-9977-258471074ACD}" dt="2021-01-13T12:32:43.505" v="13325" actId="14100"/>
          <ac:spMkLst>
            <pc:docMk/>
            <pc:sldMk cId="3818577173" sldId="303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37:38.915" v="13717" actId="20577"/>
          <ac:spMkLst>
            <pc:docMk/>
            <pc:sldMk cId="3818577173" sldId="303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2:32:07.584" v="13238" actId="26606"/>
          <ac:spMkLst>
            <pc:docMk/>
            <pc:sldMk cId="3818577173" sldId="303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2:32:07.584" v="13238" actId="26606"/>
          <ac:spMkLst>
            <pc:docMk/>
            <pc:sldMk cId="3818577173" sldId="303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2:30:39.628" v="13237"/>
          <ac:spMkLst>
            <pc:docMk/>
            <pc:sldMk cId="3818577173" sldId="303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2:30:39.628" v="13237"/>
          <ac:spMkLst>
            <pc:docMk/>
            <pc:sldMk cId="3818577173" sldId="303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2:32:07.584" v="13238" actId="26606"/>
          <ac:grpSpMkLst>
            <pc:docMk/>
            <pc:sldMk cId="3818577173" sldId="303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2:30:39.628" v="13237"/>
          <ac:grpSpMkLst>
            <pc:docMk/>
            <pc:sldMk cId="3818577173" sldId="303"/>
            <ac:grpSpMk id="14" creationId="{28FAF094-D087-493F-8DF9-A486C2D6BBAA}"/>
          </ac:grpSpMkLst>
        </pc:grpChg>
      </pc:sldChg>
      <pc:sldChg chg="addSp delSp modSp add del mod setBg delDesignElem">
        <pc:chgData name="이 지상" userId="52e16c35b1c96571" providerId="LiveId" clId="{E3E1CB2B-ED93-498B-9977-258471074ACD}" dt="2021-01-13T13:09:02.604" v="15384" actId="2696"/>
        <pc:sldMkLst>
          <pc:docMk/>
          <pc:sldMk cId="95172149" sldId="304"/>
        </pc:sldMkLst>
        <pc:spChg chg="mod">
          <ac:chgData name="이 지상" userId="52e16c35b1c96571" providerId="LiveId" clId="{E3E1CB2B-ED93-498B-9977-258471074ACD}" dt="2021-01-13T12:38:29.257" v="13753"/>
          <ac:spMkLst>
            <pc:docMk/>
            <pc:sldMk cId="95172149" sldId="304"/>
            <ac:spMk id="2" creationId="{4803AC60-B1EB-4F45-9FAD-7E1C0E21014C}"/>
          </ac:spMkLst>
        </pc:spChg>
        <pc:spChg chg="add mod">
          <ac:chgData name="이 지상" userId="52e16c35b1c96571" providerId="LiveId" clId="{E3E1CB2B-ED93-498B-9977-258471074ACD}" dt="2021-01-13T12:42:37.501" v="13758" actId="21"/>
          <ac:spMkLst>
            <pc:docMk/>
            <pc:sldMk cId="95172149" sldId="304"/>
            <ac:spMk id="6" creationId="{727E4AFC-8535-4771-B67E-4A7699C1AF2D}"/>
          </ac:spMkLst>
        </pc:spChg>
        <pc:spChg chg="del mod">
          <ac:chgData name="이 지상" userId="52e16c35b1c96571" providerId="LiveId" clId="{E3E1CB2B-ED93-498B-9977-258471074ACD}" dt="2021-01-13T12:42:24.455" v="13755" actId="22"/>
          <ac:spMkLst>
            <pc:docMk/>
            <pc:sldMk cId="95172149" sldId="304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37:41.392" v="13719"/>
          <ac:spMkLst>
            <pc:docMk/>
            <pc:sldMk cId="95172149" sldId="304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37:41.392" v="13719"/>
          <ac:spMkLst>
            <pc:docMk/>
            <pc:sldMk cId="95172149" sldId="304"/>
            <ac:spMk id="11" creationId="{E659831F-0D9A-4C63-9EBB-8435B85A440F}"/>
          </ac:spMkLst>
        </pc:spChg>
        <pc:grpChg chg="del">
          <ac:chgData name="이 지상" userId="52e16c35b1c96571" providerId="LiveId" clId="{E3E1CB2B-ED93-498B-9977-258471074ACD}" dt="2021-01-13T12:37:41.392" v="13719"/>
          <ac:grpSpMkLst>
            <pc:docMk/>
            <pc:sldMk cId="95172149" sldId="304"/>
            <ac:grpSpMk id="10" creationId="{28FAF094-D087-493F-8DF9-A486C2D6BBAA}"/>
          </ac:grpSpMkLst>
        </pc:grpChg>
        <pc:picChg chg="add del mod ord">
          <ac:chgData name="이 지상" userId="52e16c35b1c96571" providerId="LiveId" clId="{E3E1CB2B-ED93-498B-9977-258471074ACD}" dt="2021-01-13T12:42:37.501" v="13758" actId="21"/>
          <ac:picMkLst>
            <pc:docMk/>
            <pc:sldMk cId="95172149" sldId="304"/>
            <ac:picMk id="4" creationId="{B91DCE8D-3552-41DB-82F4-02C476214AA7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2:45:59.242" v="14124" actId="1076"/>
        <pc:sldMkLst>
          <pc:docMk/>
          <pc:sldMk cId="1656623118" sldId="305"/>
        </pc:sldMkLst>
        <pc:spChg chg="mod">
          <ac:chgData name="이 지상" userId="52e16c35b1c96571" providerId="LiveId" clId="{E3E1CB2B-ED93-498B-9977-258471074ACD}" dt="2021-01-13T12:43:31.242" v="13819"/>
          <ac:spMkLst>
            <pc:docMk/>
            <pc:sldMk cId="1656623118" sldId="305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45:57.098" v="14123" actId="14100"/>
          <ac:spMkLst>
            <pc:docMk/>
            <pc:sldMk cId="1656623118" sldId="305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9" creationId="{201CC55D-ED54-4C5C-95E6-10947BD1103B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12" creationId="{201CC55D-ED54-4C5C-95E6-10947BD1103B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13" creationId="{C13237C8-E62C-4F0D-A318-BD6FB6C2D138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17" creationId="{19C9EAEA-39D0-4B0E-A0EB-51E7B26740B1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18" creationId="{3873B707-463F-40B0-8227-E8CC6C67EB25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20" creationId="{C13237C8-E62C-4F0D-A318-BD6FB6C2D138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22" creationId="{19C9EAEA-39D0-4B0E-A0EB-51E7B26740B1}"/>
          </ac:spMkLst>
        </pc:spChg>
        <pc:grpChg chg="add">
          <ac:chgData name="이 지상" userId="52e16c35b1c96571" providerId="LiveId" clId="{E3E1CB2B-ED93-498B-9977-258471074ACD}" dt="2021-01-13T12:42:52.818" v="13761" actId="26606"/>
          <ac:grpSpMkLst>
            <pc:docMk/>
            <pc:sldMk cId="1656623118" sldId="305"/>
            <ac:grpSpMk id="10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2:42:48.415" v="13760"/>
          <ac:grpSpMkLst>
            <pc:docMk/>
            <pc:sldMk cId="1656623118" sldId="305"/>
            <ac:grpSpMk id="14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2:45:59.242" v="14124" actId="1076"/>
          <ac:picMkLst>
            <pc:docMk/>
            <pc:sldMk cId="1656623118" sldId="305"/>
            <ac:picMk id="4" creationId="{DE2071A4-9968-4F83-8E48-EDB0004838C5}"/>
          </ac:picMkLst>
        </pc:picChg>
        <pc:picChg chg="del mod">
          <ac:chgData name="이 지상" userId="52e16c35b1c96571" providerId="LiveId" clId="{E3E1CB2B-ED93-498B-9977-258471074ACD}" dt="2021-01-13T12:42:53.815" v="13762" actId="478"/>
          <ac:picMkLst>
            <pc:docMk/>
            <pc:sldMk cId="1656623118" sldId="305"/>
            <ac:picMk id="6" creationId="{D71E50D2-B146-4FB3-9E8D-EA32D428EF40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2:42:55.856" v="13765"/>
        <pc:sldMkLst>
          <pc:docMk/>
          <pc:sldMk cId="1729380357" sldId="306"/>
        </pc:sldMkLst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12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18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2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22" creationId="{19C9EAEA-39D0-4B0E-A0EB-51E7B26740B1}"/>
          </ac:spMkLst>
        </pc:spChg>
        <pc:grpChg chg="add del">
          <ac:chgData name="이 지상" userId="52e16c35b1c96571" providerId="LiveId" clId="{E3E1CB2B-ED93-498B-9977-258471074ACD}" dt="2021-01-13T12:42:55.856" v="13765"/>
          <ac:grpSpMkLst>
            <pc:docMk/>
            <pc:sldMk cId="1729380357" sldId="306"/>
            <ac:grpSpMk id="14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3:01:54.385" v="14891" actId="20577"/>
        <pc:sldMkLst>
          <pc:docMk/>
          <pc:sldMk cId="2140741906" sldId="306"/>
        </pc:sldMkLst>
        <pc:spChg chg="mod">
          <ac:chgData name="이 지상" userId="52e16c35b1c96571" providerId="LiveId" clId="{E3E1CB2B-ED93-498B-9977-258471074ACD}" dt="2021-01-13T12:51:45.173" v="14431" actId="20577"/>
          <ac:spMkLst>
            <pc:docMk/>
            <pc:sldMk cId="2140741906" sldId="306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3:01:54.385" v="14891" actId="20577"/>
          <ac:spMkLst>
            <pc:docMk/>
            <pc:sldMk cId="2140741906" sldId="306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9" creationId="{201CC55D-ED54-4C5C-95E6-10947BD1103B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11" creationId="{3873B707-463F-40B0-8227-E8CC6C67EB25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13" creationId="{C13237C8-E62C-4F0D-A318-BD6FB6C2D138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17" creationId="{19C9EAEA-39D0-4B0E-A0EB-51E7B26740B1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18" creationId="{3873B707-463F-40B0-8227-E8CC6C67EB25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20" creationId="{C13237C8-E62C-4F0D-A318-BD6FB6C2D138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22" creationId="{19C9EAEA-39D0-4B0E-A0EB-51E7B26740B1}"/>
          </ac:spMkLst>
        </pc:spChg>
        <pc:grpChg chg="del">
          <ac:chgData name="이 지상" userId="52e16c35b1c96571" providerId="LiveId" clId="{E3E1CB2B-ED93-498B-9977-258471074ACD}" dt="2021-01-13T12:46:19.702" v="14126"/>
          <ac:grpSpMkLst>
            <pc:docMk/>
            <pc:sldMk cId="2140741906" sldId="306"/>
            <ac:grpSpMk id="10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2:46:21.770" v="14127" actId="26606"/>
          <ac:grpSpMkLst>
            <pc:docMk/>
            <pc:sldMk cId="2140741906" sldId="306"/>
            <ac:grpSpMk id="14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2:46:22.827" v="14128" actId="478"/>
          <ac:picMkLst>
            <pc:docMk/>
            <pc:sldMk cId="2140741906" sldId="306"/>
            <ac:picMk id="4" creationId="{DE2071A4-9968-4F83-8E48-EDB0004838C5}"/>
          </ac:picMkLst>
        </pc:picChg>
        <pc:picChg chg="add del mod">
          <ac:chgData name="이 지상" userId="52e16c35b1c96571" providerId="LiveId" clId="{E3E1CB2B-ED93-498B-9977-258471074ACD}" dt="2021-01-13T12:47:46.876" v="14149" actId="21"/>
          <ac:picMkLst>
            <pc:docMk/>
            <pc:sldMk cId="2140741906" sldId="306"/>
            <ac:picMk id="5" creationId="{1CCFB078-6838-4B30-8874-2C13BB72D540}"/>
          </ac:picMkLst>
        </pc:picChg>
        <pc:picChg chg="add mod">
          <ac:chgData name="이 지상" userId="52e16c35b1c96571" providerId="LiveId" clId="{E3E1CB2B-ED93-498B-9977-258471074ACD}" dt="2021-01-13T13:01:29.776" v="14884" actId="1076"/>
          <ac:picMkLst>
            <pc:docMk/>
            <pc:sldMk cId="2140741906" sldId="306"/>
            <ac:picMk id="8" creationId="{B4D21382-71C9-47DD-9605-CEA6F166C179}"/>
          </ac:picMkLst>
        </pc:picChg>
        <pc:picChg chg="add mod">
          <ac:chgData name="이 지상" userId="52e16c35b1c96571" providerId="LiveId" clId="{E3E1CB2B-ED93-498B-9977-258471074ACD}" dt="2021-01-13T13:01:40.404" v="14888" actId="1076"/>
          <ac:picMkLst>
            <pc:docMk/>
            <pc:sldMk cId="2140741906" sldId="306"/>
            <ac:picMk id="21" creationId="{4D773FA0-FA5A-4B40-A97B-FF029763936F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2:51:13.084" v="14378" actId="14100"/>
        <pc:sldMkLst>
          <pc:docMk/>
          <pc:sldMk cId="1854091975" sldId="307"/>
        </pc:sldMkLst>
        <pc:spChg chg="mod">
          <ac:chgData name="이 지상" userId="52e16c35b1c96571" providerId="LiveId" clId="{E3E1CB2B-ED93-498B-9977-258471074ACD}" dt="2021-01-13T12:51:06.652" v="14377" actId="255"/>
          <ac:spMkLst>
            <pc:docMk/>
            <pc:sldMk cId="1854091975" sldId="30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51:13.084" v="14378" actId="14100"/>
          <ac:spMkLst>
            <pc:docMk/>
            <pc:sldMk cId="1854091975" sldId="307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47:20.268" v="14135"/>
          <ac:spMkLst>
            <pc:docMk/>
            <pc:sldMk cId="1854091975" sldId="307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47:20.268" v="14135"/>
          <ac:spMkLst>
            <pc:docMk/>
            <pc:sldMk cId="1854091975" sldId="307"/>
            <ac:spMk id="11" creationId="{E659831F-0D9A-4C63-9EBB-8435B85A440F}"/>
          </ac:spMkLst>
        </pc:spChg>
        <pc:spChg chg="add del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12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18" creationId="{E659831F-0D9A-4C63-9EBB-8435B85A440F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23" creationId="{201CC55D-ED54-4C5C-95E6-10947BD1103B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29" creationId="{3873B707-463F-40B0-8227-E8CC6C67EB25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31" creationId="{C13237C8-E62C-4F0D-A318-BD6FB6C2D138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33" creationId="{19C9EAEA-39D0-4B0E-A0EB-51E7B26740B1}"/>
          </ac:spMkLst>
        </pc:spChg>
        <pc:grpChg chg="del">
          <ac:chgData name="이 지상" userId="52e16c35b1c96571" providerId="LiveId" clId="{E3E1CB2B-ED93-498B-9977-258471074ACD}" dt="2021-01-13T12:47:20.268" v="14135"/>
          <ac:grpSpMkLst>
            <pc:docMk/>
            <pc:sldMk cId="1854091975" sldId="307"/>
            <ac:grpSpMk id="10" creationId="{28FAF094-D087-493F-8DF9-A486C2D6BBAA}"/>
          </ac:grpSpMkLst>
        </pc:grpChg>
        <pc:grpChg chg="add del">
          <ac:chgData name="이 지상" userId="52e16c35b1c96571" providerId="LiveId" clId="{E3E1CB2B-ED93-498B-9977-258471074ACD}" dt="2021-01-13T12:49:35.118" v="14355" actId="26606"/>
          <ac:grpSpMkLst>
            <pc:docMk/>
            <pc:sldMk cId="1854091975" sldId="307"/>
            <ac:grpSpMk id="14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2:49:35.118" v="14355" actId="26606"/>
          <ac:grpSpMkLst>
            <pc:docMk/>
            <pc:sldMk cId="1854091975" sldId="307"/>
            <ac:grpSpMk id="25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2:50:17.251" v="14365" actId="1076"/>
          <ac:picMkLst>
            <pc:docMk/>
            <pc:sldMk cId="1854091975" sldId="307"/>
            <ac:picMk id="4" creationId="{0EE96D76-D019-491E-B95D-B33845023AF5}"/>
          </ac:picMkLst>
        </pc:picChg>
        <pc:picChg chg="add del mod">
          <ac:chgData name="이 지상" userId="52e16c35b1c96571" providerId="LiveId" clId="{E3E1CB2B-ED93-498B-9977-258471074ACD}" dt="2021-01-13T12:49:37.427" v="14356" actId="21"/>
          <ac:picMkLst>
            <pc:docMk/>
            <pc:sldMk cId="1854091975" sldId="307"/>
            <ac:picMk id="13" creationId="{F99D377E-77CA-4D2F-87A7-D8D65F5F9482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3:13:35.657" v="15854" actId="20577"/>
        <pc:sldMkLst>
          <pc:docMk/>
          <pc:sldMk cId="2746014371" sldId="308"/>
        </pc:sldMkLst>
        <pc:spChg chg="mod">
          <ac:chgData name="이 지상" userId="52e16c35b1c96571" providerId="LiveId" clId="{E3E1CB2B-ED93-498B-9977-258471074ACD}" dt="2021-01-13T13:03:24.365" v="14987" actId="14100"/>
          <ac:spMkLst>
            <pc:docMk/>
            <pc:sldMk cId="2746014371" sldId="308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3:13:35.657" v="15854" actId="20577"/>
          <ac:spMkLst>
            <pc:docMk/>
            <pc:sldMk cId="2746014371" sldId="308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18" creationId="{3873B707-463F-40B0-8227-E8CC6C67EB25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20" creationId="{C13237C8-E62C-4F0D-A318-BD6FB6C2D138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22" creationId="{19C9EAEA-39D0-4B0E-A0EB-51E7B26740B1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26" creationId="{6ECA6DCB-B7E1-40A9-9524-540C6DA40B1B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2" creationId="{3873B707-463F-40B0-8227-E8CC6C67EB25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4" creationId="{C13237C8-E62C-4F0D-A318-BD6FB6C2D138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6" creationId="{19C9EAEA-39D0-4B0E-A0EB-51E7B26740B1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8" creationId="{8CB5D2D7-DF65-4E86-BFBA-FFB9B5ACEB64}"/>
          </ac:spMkLst>
        </pc:spChg>
        <pc:grpChg chg="del">
          <ac:chgData name="이 지상" userId="52e16c35b1c96571" providerId="LiveId" clId="{E3E1CB2B-ED93-498B-9977-258471074ACD}" dt="2021-01-13T13:02:52.018" v="14893"/>
          <ac:grpSpMkLst>
            <pc:docMk/>
            <pc:sldMk cId="2746014371" sldId="308"/>
            <ac:grpSpMk id="14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3:02:55.667" v="14894" actId="26606"/>
          <ac:grpSpMkLst>
            <pc:docMk/>
            <pc:sldMk cId="2746014371" sldId="308"/>
            <ac:grpSpMk id="28" creationId="{1DE889C7-FAD6-4397-98E2-05D503484459}"/>
          </ac:grpSpMkLst>
        </pc:grpChg>
        <pc:picChg chg="add del mod">
          <ac:chgData name="이 지상" userId="52e16c35b1c96571" providerId="LiveId" clId="{E3E1CB2B-ED93-498B-9977-258471074ACD}" dt="2021-01-13T13:11:45.433" v="15702" actId="478"/>
          <ac:picMkLst>
            <pc:docMk/>
            <pc:sldMk cId="2746014371" sldId="308"/>
            <ac:picMk id="4" creationId="{512823FE-E793-4845-B50B-2506A4901820}"/>
          </ac:picMkLst>
        </pc:picChg>
        <pc:picChg chg="add del mod">
          <ac:chgData name="이 지상" userId="52e16c35b1c96571" providerId="LiveId" clId="{E3E1CB2B-ED93-498B-9977-258471074ACD}" dt="2021-01-13T13:11:46.046" v="15703" actId="478"/>
          <ac:picMkLst>
            <pc:docMk/>
            <pc:sldMk cId="2746014371" sldId="308"/>
            <ac:picMk id="6" creationId="{E8E1A27F-DDF1-4EEC-9408-4953B3AFFBB3}"/>
          </ac:picMkLst>
        </pc:picChg>
        <pc:picChg chg="del mod">
          <ac:chgData name="이 지상" userId="52e16c35b1c96571" providerId="LiveId" clId="{E3E1CB2B-ED93-498B-9977-258471074ACD}" dt="2021-01-13T13:07:03.550" v="15366" actId="478"/>
          <ac:picMkLst>
            <pc:docMk/>
            <pc:sldMk cId="2746014371" sldId="308"/>
            <ac:picMk id="8" creationId="{B4D21382-71C9-47DD-9605-CEA6F166C179}"/>
          </ac:picMkLst>
        </pc:picChg>
        <pc:picChg chg="add mod">
          <ac:chgData name="이 지상" userId="52e16c35b1c96571" providerId="LiveId" clId="{E3E1CB2B-ED93-498B-9977-258471074ACD}" dt="2021-01-13T13:12:09.413" v="15708" actId="1076"/>
          <ac:picMkLst>
            <pc:docMk/>
            <pc:sldMk cId="2746014371" sldId="308"/>
            <ac:picMk id="10" creationId="{9A142146-26A5-48EC-9D18-CF899D83A188}"/>
          </ac:picMkLst>
        </pc:picChg>
        <pc:picChg chg="add mod">
          <ac:chgData name="이 지상" userId="52e16c35b1c96571" providerId="LiveId" clId="{E3E1CB2B-ED93-498B-9977-258471074ACD}" dt="2021-01-13T13:12:48.250" v="15713" actId="14100"/>
          <ac:picMkLst>
            <pc:docMk/>
            <pc:sldMk cId="2746014371" sldId="308"/>
            <ac:picMk id="13" creationId="{4FA856BC-C4E7-48AB-9021-E6950D5E2B19}"/>
          </ac:picMkLst>
        </pc:picChg>
        <pc:picChg chg="del mod">
          <ac:chgData name="이 지상" userId="52e16c35b1c96571" providerId="LiveId" clId="{E3E1CB2B-ED93-498B-9977-258471074ACD}" dt="2021-01-13T13:07:03.866" v="15367" actId="478"/>
          <ac:picMkLst>
            <pc:docMk/>
            <pc:sldMk cId="2746014371" sldId="308"/>
            <ac:picMk id="21" creationId="{4D773FA0-FA5A-4B40-A97B-FF029763936F}"/>
          </ac:picMkLst>
        </pc:picChg>
      </pc:sldChg>
      <pc:sldChg chg="delSp add del setBg delDesignElem">
        <pc:chgData name="이 지상" userId="52e16c35b1c96571" providerId="LiveId" clId="{E3E1CB2B-ED93-498B-9977-258471074ACD}" dt="2021-01-13T13:09:01.003" v="15383" actId="2696"/>
        <pc:sldMkLst>
          <pc:docMk/>
          <pc:sldMk cId="2496216934" sldId="309"/>
        </pc:sldMkLst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26" creationId="{6ECA6DCB-B7E1-40A9-9524-540C6DA40B1B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2" creationId="{3873B707-463F-40B0-8227-E8CC6C67EB25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4" creationId="{C13237C8-E62C-4F0D-A318-BD6FB6C2D138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6" creationId="{19C9EAEA-39D0-4B0E-A0EB-51E7B26740B1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8" creationId="{8CB5D2D7-DF65-4E86-BFBA-FFB9B5ACEB64}"/>
          </ac:spMkLst>
        </pc:spChg>
        <pc:grpChg chg="del">
          <ac:chgData name="이 지상" userId="52e16c35b1c96571" providerId="LiveId" clId="{E3E1CB2B-ED93-498B-9977-258471074ACD}" dt="2021-01-13T13:08:44.815" v="15380"/>
          <ac:grpSpMkLst>
            <pc:docMk/>
            <pc:sldMk cId="2496216934" sldId="309"/>
            <ac:grpSpMk id="28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3:14:49.138" v="16148"/>
        <pc:sldMkLst>
          <pc:docMk/>
          <pc:sldMk cId="3452299045" sldId="310"/>
        </pc:sldMkLst>
        <pc:spChg chg="mod">
          <ac:chgData name="이 지상" userId="52e16c35b1c96571" providerId="LiveId" clId="{E3E1CB2B-ED93-498B-9977-258471074ACD}" dt="2021-01-13T13:09:27.929" v="15400" actId="20577"/>
          <ac:spMkLst>
            <pc:docMk/>
            <pc:sldMk cId="3452299045" sldId="310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3:14:49.138" v="16148"/>
          <ac:spMkLst>
            <pc:docMk/>
            <pc:sldMk cId="3452299045" sldId="310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3:09:23.812" v="15393" actId="26606"/>
          <ac:spMkLst>
            <pc:docMk/>
            <pc:sldMk cId="3452299045" sldId="310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3:09:23.812" v="15393" actId="26606"/>
          <ac:spMkLst>
            <pc:docMk/>
            <pc:sldMk cId="3452299045" sldId="310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3:08:57.576" v="15382"/>
          <ac:spMkLst>
            <pc:docMk/>
            <pc:sldMk cId="3452299045" sldId="310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3:08:57.576" v="15382"/>
          <ac:spMkLst>
            <pc:docMk/>
            <pc:sldMk cId="3452299045" sldId="310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3:09:23.812" v="15393" actId="26606"/>
          <ac:grpSpMkLst>
            <pc:docMk/>
            <pc:sldMk cId="3452299045" sldId="310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3:08:57.576" v="15382"/>
          <ac:grpSpMkLst>
            <pc:docMk/>
            <pc:sldMk cId="3452299045" sldId="310"/>
            <ac:grpSpMk id="14" creationId="{28FAF094-D087-493F-8DF9-A486C2D6BBAA}"/>
          </ac:grpSpMkLst>
        </pc:gr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E0E911-8F86-4859-BB05-650E26A62F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1332F1-2E7B-4EC8-B113-83E2B51E3A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D97EDBE-7BBC-4761-92CE-8EB318FCA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9534F0-A133-4903-B9BD-71D001F7C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EBB7DF-EE81-4CB1-A3CF-E866EF213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1498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719B6D-56DD-4734-83C6-88C64A6E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7813B41-3CEE-47EA-816E-541F223B02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02BA1CA-6728-4D53-90C4-29CCFF36B6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540AF98-15FC-4D81-8B00-3CFE31E55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BA796BA-E691-455E-8088-E85310AAA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5153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3A9BAD2-C8DB-4031-A2E1-453552D8A4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E085558-2504-4042-9668-EB7907155F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E823D6-F791-4208-AEB2-A4DD727108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2E2AE22-CB30-4B27-A1F7-A82BAA6CC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820386A-DBA2-41EA-82EB-F9F4BA668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1291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569B040-AF39-41E2-B1D6-692238D54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910FC4A-3EB8-4444-838E-B321332A40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0880E0F-B022-4618-A998-FE1A6790F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3A053A6-96A1-4C34-B42C-928E0FBA0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B70AF71-668A-45BB-B34F-759EDC363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7875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5EEA703-5165-4FD5-9B27-A520266CD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B33E3B4-E710-46D3-8E9C-5F5B03B391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6B07ECE-FB81-47D6-BDDA-4DB095B90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4BE2C95-5E7F-40CB-A3D4-DD06351B3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018A0E6-FDBA-485D-B641-6B37E9D60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8163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59C1EDB-1C21-4DD5-B03E-57CDE7F5D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D78CC5F-F983-4A11-B955-110323C324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FA224D0D-5F19-410D-964C-BD7445FFC9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27556C0-C426-49F0-A6E3-F22921D87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832BC1F-9ADA-4E9D-80D9-59569915D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9E8E5B4-D585-49E2-BFD4-0F681F8D3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37613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8CD6D7-3C5D-4ECB-9753-ABB92FC66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752A98C-5800-4D13-A622-655609D34B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920B02E-EC24-490E-9A4E-519882BE68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F977BEC-5E95-4F5E-A992-51E4BB282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1636952C-3A72-41D4-8A04-E4DC3C8792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648D2839-DE0E-413E-8A61-F1BF7D031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A0C8835A-D6A4-497D-A17C-81196A683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A6C17055-5FAD-412E-8823-F37E680F2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703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21785F4-A707-426C-9841-52E0C0DA5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D008A234-6B73-4535-AE88-BD667831F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C7F7CB3-AD0D-42C3-8F28-67BD0655D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09F603F-7861-4A3B-B9B8-0C39C9CE3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9025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D06D6F1-0C08-41B4-A6F6-63312706E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986BDBD-B793-487E-BA09-2DD417398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212149-4F68-4C55-BA5B-94BD17ECB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7648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764E1B1-AA0F-4DAC-AEB7-0E6174192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D6E2C75-C22D-4D13-BF87-0804AED054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D93A7D5-99E6-4335-BCF5-D069BD475D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B1AEAEE-FF1B-45BA-9B30-372DF893C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6EF5FF8-096E-46E1-94A4-8E4B9F651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684F452-5143-4CD4-BF88-E907C7780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3328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2F9B909-BEF4-4734-BBFE-082AB0D07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FA808F53-1BE9-4897-BEFD-5C89D2679E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8992AE7-DAA6-4DD8-887D-8B6C46CA67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7D8EBDC-0555-47D7-B915-3C2734F08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07D3524-5653-412E-AAC3-18C313EE6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CFD33B2-8BD6-45D0-9C91-92F3BBC52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8550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ED432DC1-3CA8-4F34-B8A5-A2AD8698A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317A237-3F52-4534-BCEB-EA7A5C555C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CF1CC9C-0083-4AB2-A4DC-5FFD7D077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C9C976-D48A-4A98-9019-22B71424961F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2834BAB-278B-4CEE-9BBF-8F9BA49D4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8DC4586-3E09-4D79-97B2-280924E30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740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chemeClr val="tx1"/>
                </a:solidFill>
              </a:rPr>
              <a:t>4.4</a:t>
            </a:r>
            <a:r>
              <a:rPr lang="ko-KR" altLang="en-US" sz="4000" dirty="0"/>
              <a:t> 과대적합과 과소적합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 </a:t>
            </a:r>
            <a:r>
              <a:rPr lang="ko-KR" altLang="en-US" sz="4000" dirty="0"/>
              <a:t>절 정리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신경망</a:t>
            </a:r>
            <a:r>
              <a:rPr lang="en-US" altLang="ko-KR" sz="2200" dirty="0"/>
              <a:t>(</a:t>
            </a:r>
            <a:r>
              <a:rPr lang="ko-KR" altLang="en-US" sz="2200" dirty="0"/>
              <a:t>네트워크</a:t>
            </a:r>
            <a:r>
              <a:rPr lang="en-US" altLang="ko-KR" sz="2200" dirty="0"/>
              <a:t>)</a:t>
            </a:r>
            <a:r>
              <a:rPr lang="ko-KR" altLang="en-US" sz="2200" dirty="0"/>
              <a:t>에서 과대적합을 방지하기 위해 널리 사용하는 방법</a:t>
            </a:r>
            <a:endParaRPr lang="en-US" altLang="ko-KR" sz="2200" dirty="0"/>
          </a:p>
          <a:p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1. </a:t>
            </a:r>
            <a:r>
              <a:rPr lang="ko-KR" altLang="en-US" sz="2200" dirty="0"/>
              <a:t>훈련데이터를 모은다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2. </a:t>
            </a:r>
            <a:r>
              <a:rPr lang="ko-KR" altLang="en-US" sz="2200" dirty="0"/>
              <a:t>네트워크의 용량을 감소시킴</a:t>
            </a:r>
            <a:r>
              <a:rPr lang="en-US" altLang="ko-KR" sz="2200" dirty="0"/>
              <a:t>(</a:t>
            </a:r>
            <a:r>
              <a:rPr lang="ko-KR" altLang="en-US" sz="2200" dirty="0"/>
              <a:t>크기 축소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r>
              <a:rPr lang="en-US" altLang="ko-KR" sz="2200" dirty="0"/>
              <a:t>3. </a:t>
            </a:r>
            <a:r>
              <a:rPr lang="ko-KR" altLang="en-US" sz="2200" dirty="0"/>
              <a:t>가중치 규제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4. </a:t>
            </a:r>
            <a:r>
              <a:rPr lang="ko-KR" altLang="en-US" sz="2200" dirty="0" err="1"/>
              <a:t>드롭아웃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371403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/>
              <a:t>4.5 </a:t>
            </a:r>
            <a:r>
              <a:rPr lang="ko-KR" altLang="en-US" sz="4000" dirty="0"/>
              <a:t>보편적인 머신 러닝 작업 흐름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4002773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57739" y="85299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1" y="81383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4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34009" y="1946917"/>
              <a:ext cx="3023739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4.5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문제 정의와 데이터셋 수집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1620626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4.5.2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성공 지표 선택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2446242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4.5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평가 방법 선택</a:t>
              </a: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93FF9A38-CFB1-4854-A69D-92906836805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-2810" y="4868325"/>
            <a:ext cx="7334341" cy="737782"/>
            <a:chOff x="675164" y="5523581"/>
            <a:chExt cx="7092280" cy="589897"/>
          </a:xfrm>
        </p:grpSpPr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133AC174-FF9E-4BC1-B7E8-FD287B5B2BF8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27" name="평행 사변형 26">
              <a:extLst>
                <a:ext uri="{FF2B5EF4-FFF2-40B4-BE49-F238E27FC236}">
                  <a16:creationId xmlns:a16="http://schemas.microsoft.com/office/drawing/2014/main" id="{B377DC17-2D4A-4D3C-A20B-3E77EBC4D149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8" name="오각형 19">
              <a:extLst>
                <a:ext uri="{FF2B5EF4-FFF2-40B4-BE49-F238E27FC236}">
                  <a16:creationId xmlns:a16="http://schemas.microsoft.com/office/drawing/2014/main" id="{3878CC47-EA35-4BA8-86AA-CC04785776BE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B1325AF-3495-4FE5-A0BD-9F4472D6E68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2810" y="3298333"/>
            <a:ext cx="6615884" cy="737782"/>
            <a:chOff x="675164" y="5523581"/>
            <a:chExt cx="7092280" cy="589897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104094C-BC33-4D51-866E-07FA69EAB5AD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3" name="평행 사변형 32">
              <a:extLst>
                <a:ext uri="{FF2B5EF4-FFF2-40B4-BE49-F238E27FC236}">
                  <a16:creationId xmlns:a16="http://schemas.microsoft.com/office/drawing/2014/main" id="{C26E1D06-7CEB-430F-A9DD-FF51337E43B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4" name="오각형 19">
              <a:extLst>
                <a:ext uri="{FF2B5EF4-FFF2-40B4-BE49-F238E27FC236}">
                  <a16:creationId xmlns:a16="http://schemas.microsoft.com/office/drawing/2014/main" id="{3F2C8FB7-2B92-4812-9631-3075BA56E2AB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810D040D-AC08-48F4-ADCC-8AD8400C27E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2810" y="4092203"/>
            <a:ext cx="7056753" cy="737782"/>
            <a:chOff x="675164" y="5523581"/>
            <a:chExt cx="7092280" cy="589897"/>
          </a:xfrm>
        </p:grpSpPr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6A1195-8FC2-4817-8398-08B632C4B00C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9" name="평행 사변형 38">
              <a:extLst>
                <a:ext uri="{FF2B5EF4-FFF2-40B4-BE49-F238E27FC236}">
                  <a16:creationId xmlns:a16="http://schemas.microsoft.com/office/drawing/2014/main" id="{791DDBA2-E70F-4903-9288-A60CE0AF8B0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0" name="오각형 19">
              <a:extLst>
                <a:ext uri="{FF2B5EF4-FFF2-40B4-BE49-F238E27FC236}">
                  <a16:creationId xmlns:a16="http://schemas.microsoft.com/office/drawing/2014/main" id="{A0FA58C2-4FF6-420B-BFE7-5568979A5B43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950C5623-A22C-428D-AEBB-FAE7C347928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2810" y="5659209"/>
            <a:ext cx="7792107" cy="747209"/>
            <a:chOff x="675164" y="5527908"/>
            <a:chExt cx="7040987" cy="597434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A27DCE26-E44F-4C35-B8C4-81F5E4325631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46" name="오각형 19">
              <a:extLst>
                <a:ext uri="{FF2B5EF4-FFF2-40B4-BE49-F238E27FC236}">
                  <a16:creationId xmlns:a16="http://schemas.microsoft.com/office/drawing/2014/main" id="{59AA9F74-FE82-48FA-86BF-E5BED3C40077}"/>
                </a:ext>
              </a:extLst>
            </p:cNvPr>
            <p:cNvSpPr/>
            <p:nvPr/>
          </p:nvSpPr>
          <p:spPr>
            <a:xfrm>
              <a:off x="1999456" y="5627476"/>
              <a:ext cx="5716695" cy="497866"/>
            </a:xfrm>
            <a:prstGeom prst="homePlat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00B42C4-2F2D-4D24-9A8F-04E60003621C}"/>
              </a:ext>
            </a:extLst>
          </p:cNvPr>
          <p:cNvSpPr txBox="1"/>
          <p:nvPr/>
        </p:nvSpPr>
        <p:spPr>
          <a:xfrm>
            <a:off x="1462755" y="3568508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4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데이터 준비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C3D327D-578D-46C7-BE18-B8A8A06FB424}"/>
              </a:ext>
            </a:extLst>
          </p:cNvPr>
          <p:cNvSpPr txBox="1"/>
          <p:nvPr/>
        </p:nvSpPr>
        <p:spPr>
          <a:xfrm>
            <a:off x="1462754" y="5126418"/>
            <a:ext cx="3287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6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몸집 키우기</a:t>
            </a:r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: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과대적합 모델 구축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848C23D-CE55-40C9-A448-270267566636}"/>
              </a:ext>
            </a:extLst>
          </p:cNvPr>
          <p:cNvSpPr txBox="1"/>
          <p:nvPr/>
        </p:nvSpPr>
        <p:spPr>
          <a:xfrm>
            <a:off x="1462754" y="5941189"/>
            <a:ext cx="34180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7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모델 규제와 </a:t>
            </a:r>
            <a:r>
              <a:rPr lang="ko-KR" altLang="en-US" sz="1400" dirty="0" err="1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하이퍼파라미터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 튜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706E9A-06A6-4B3F-8FBC-56E04D41A8BF}"/>
              </a:ext>
            </a:extLst>
          </p:cNvPr>
          <p:cNvSpPr txBox="1"/>
          <p:nvPr/>
        </p:nvSpPr>
        <p:spPr>
          <a:xfrm>
            <a:off x="1462755" y="4367131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5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기본보다 나은 모델 훈련하기</a:t>
            </a:r>
          </a:p>
        </p:txBody>
      </p:sp>
      <p:sp>
        <p:nvSpPr>
          <p:cNvPr id="51" name="평행 사변형 50">
            <a:extLst>
              <a:ext uri="{FF2B5EF4-FFF2-40B4-BE49-F238E27FC236}">
                <a16:creationId xmlns:a16="http://schemas.microsoft.com/office/drawing/2014/main" id="{F3FAD3E2-1F84-4637-8764-3B071AA3466B}"/>
              </a:ext>
            </a:extLst>
          </p:cNvPr>
          <p:cNvSpPr/>
          <p:nvPr/>
        </p:nvSpPr>
        <p:spPr>
          <a:xfrm rot="5400000">
            <a:off x="765662" y="5702275"/>
            <a:ext cx="737782" cy="656403"/>
          </a:xfrm>
          <a:prstGeom prst="parallelogram">
            <a:avLst/>
          </a:prstGeom>
          <a:solidFill>
            <a:schemeClr val="tx1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6739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1 </a:t>
            </a:r>
            <a:r>
              <a:rPr lang="ko-KR" altLang="en-US" sz="4000" dirty="0"/>
              <a:t>문제 정의와 데이터셋 수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문제 정의 </a:t>
            </a:r>
            <a:r>
              <a:rPr lang="en-US" altLang="ko-KR" sz="2200" dirty="0"/>
              <a:t>: </a:t>
            </a:r>
            <a:r>
              <a:rPr lang="ko-KR" altLang="en-US" sz="2200" dirty="0"/>
              <a:t>입력 데이터는 무엇인가</a:t>
            </a:r>
            <a:r>
              <a:rPr lang="en-US" altLang="ko-KR" sz="2200" dirty="0"/>
              <a:t>, </a:t>
            </a:r>
            <a:r>
              <a:rPr lang="ko-KR" altLang="en-US" sz="2200" dirty="0"/>
              <a:t>무엇을 예측할 것인가</a:t>
            </a:r>
            <a:r>
              <a:rPr lang="en-US" altLang="ko-KR" sz="2200" dirty="0"/>
              <a:t>, </a:t>
            </a:r>
            <a:r>
              <a:rPr lang="ko-KR" altLang="en-US" sz="2200" dirty="0"/>
              <a:t>어떤 종류의 문제인가</a:t>
            </a:r>
            <a:r>
              <a:rPr lang="en-US" altLang="ko-KR" sz="2200" dirty="0"/>
              <a:t>, </a:t>
            </a:r>
            <a:r>
              <a:rPr lang="ko-KR" altLang="en-US" sz="2200" dirty="0"/>
              <a:t>어떤 유형의 학습인가에 대해 주어진 문제를 정의해야 함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r>
              <a:rPr lang="ko-KR" altLang="en-US" sz="2200" dirty="0"/>
              <a:t>가설 설정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1.</a:t>
            </a:r>
            <a:r>
              <a:rPr lang="ko-KR" altLang="en-US" sz="2200" dirty="0"/>
              <a:t>주어진 입력으로 출력을 예측할 수 있다고 가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2.</a:t>
            </a:r>
            <a:r>
              <a:rPr lang="ko-KR" altLang="en-US" sz="2200" dirty="0"/>
              <a:t>입력과 출력 사이의 관계를 학습하는데 충분한 정보가 있다고 가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모델이 작동하기 전까지 이는 가설에 불과</a:t>
            </a:r>
            <a:r>
              <a:rPr lang="en-US" altLang="ko-KR" sz="2200" dirty="0"/>
              <a:t>-&gt;</a:t>
            </a:r>
            <a:r>
              <a:rPr lang="ko-KR" altLang="en-US" sz="2200" dirty="0"/>
              <a:t>검증할 </a:t>
            </a:r>
            <a:r>
              <a:rPr lang="ko-KR" altLang="en-US" sz="2200" dirty="0" err="1"/>
              <a:t>필요있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        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5339525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1 </a:t>
            </a:r>
            <a:r>
              <a:rPr lang="ko-KR" altLang="en-US" sz="4000" dirty="0"/>
              <a:t>문제 정의와 데이터셋 수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fontScale="92500" lnSpcReduction="10000"/>
          </a:bodyPr>
          <a:lstStyle/>
          <a:p>
            <a:r>
              <a:rPr lang="ko-KR" altLang="en-US" sz="2200" dirty="0"/>
              <a:t>데이터셋 수집 </a:t>
            </a:r>
            <a:r>
              <a:rPr lang="en-US" altLang="ko-KR" sz="2200" dirty="0"/>
              <a:t>: </a:t>
            </a:r>
            <a:r>
              <a:rPr lang="ko-KR" altLang="en-US" sz="2200" dirty="0"/>
              <a:t>시계열 데이터</a:t>
            </a:r>
            <a:r>
              <a:rPr lang="en-US" altLang="ko-KR" sz="2200" dirty="0"/>
              <a:t>(</a:t>
            </a:r>
            <a:r>
              <a:rPr lang="ko-KR" altLang="en-US" sz="2200" dirty="0"/>
              <a:t>시간적 순서가 있는 데이터</a:t>
            </a:r>
            <a:r>
              <a:rPr lang="en-US" altLang="ko-KR" sz="2200" dirty="0"/>
              <a:t>)</a:t>
            </a:r>
            <a:r>
              <a:rPr lang="ko-KR" altLang="en-US" sz="2200" dirty="0"/>
              <a:t>의 경우 충분한 정보가 있다고 판단 어려움</a:t>
            </a:r>
            <a:r>
              <a:rPr lang="en-US" altLang="ko-KR" sz="2200" dirty="0"/>
              <a:t>-&gt;ex)</a:t>
            </a:r>
            <a:r>
              <a:rPr lang="ko-KR" altLang="en-US" sz="2200" dirty="0"/>
              <a:t>주식예측</a:t>
            </a:r>
            <a:r>
              <a:rPr lang="en-US" altLang="ko-KR" sz="2200" dirty="0"/>
              <a:t>(</a:t>
            </a:r>
            <a:r>
              <a:rPr lang="ko-KR" altLang="en-US" sz="2200" dirty="0"/>
              <a:t>과거 가격 정보</a:t>
            </a:r>
            <a:r>
              <a:rPr lang="en-US" altLang="ko-KR" sz="2200" dirty="0"/>
              <a:t>), </a:t>
            </a:r>
            <a:r>
              <a:rPr lang="ko-KR" altLang="en-US" sz="2200" dirty="0"/>
              <a:t>의류구매</a:t>
            </a:r>
            <a:r>
              <a:rPr lang="en-US" altLang="ko-KR" sz="2200" dirty="0"/>
              <a:t>(</a:t>
            </a:r>
            <a:r>
              <a:rPr lang="ko-KR" altLang="en-US" sz="2200" dirty="0"/>
              <a:t>계절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r>
              <a:rPr lang="en-US" altLang="ko-KR" sz="2200" dirty="0"/>
              <a:t>   </a:t>
            </a:r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최근 데이터로 주기적으로 모델을 다시 훈련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시간 분포에 맞게 데이터 수집하여 시간에 관계없는 문제로 변경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r>
              <a:rPr lang="ko-KR" altLang="en-US" sz="2200" dirty="0" err="1"/>
              <a:t>머신러닝은</a:t>
            </a:r>
            <a:r>
              <a:rPr lang="ko-KR" altLang="en-US" sz="2200" dirty="0"/>
              <a:t> 훈련데이터에 있는 패턴을 기억하기 위해서만 사용</a:t>
            </a:r>
            <a:r>
              <a:rPr lang="en-US" altLang="ko-KR" sz="2200" dirty="0"/>
              <a:t>!</a:t>
            </a:r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미래 예측을 위해 과거 데이터에서 훈련한 </a:t>
            </a:r>
            <a:r>
              <a:rPr lang="ko-KR" altLang="en-US" sz="2200" dirty="0" err="1"/>
              <a:t>머신러닝을</a:t>
            </a:r>
            <a:r>
              <a:rPr lang="ko-KR" altLang="en-US" sz="2200" dirty="0"/>
              <a:t> 사용하는 것은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미래가 과거 처럼 움직인다고 </a:t>
            </a:r>
            <a:r>
              <a:rPr lang="ko-KR" altLang="en-US" sz="2200" dirty="0">
                <a:solidFill>
                  <a:srgbClr val="FF0000"/>
                </a:solidFill>
              </a:rPr>
              <a:t>가정</a:t>
            </a:r>
            <a:r>
              <a:rPr lang="ko-KR" altLang="en-US" sz="2200" dirty="0"/>
              <a:t>한 것임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3695890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2 </a:t>
            </a:r>
            <a:r>
              <a:rPr lang="ko-KR" altLang="en-US" sz="4000" dirty="0"/>
              <a:t>성공 지표 선택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성공은 무엇인가를 </a:t>
            </a:r>
            <a:r>
              <a:rPr lang="ko-KR" altLang="en-US" sz="2200" dirty="0" err="1"/>
              <a:t>정의해야됨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성공의 기준이 정확도인지 정밀도인지 등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성공의 지표가 모델이 최적화할 손실함수를 선택하는 기준</a:t>
            </a:r>
            <a:r>
              <a:rPr lang="en-US" altLang="ko-KR" sz="2200" dirty="0"/>
              <a:t>!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ko-KR" altLang="en-US" sz="2200" dirty="0"/>
              <a:t>자신만의 지표를 정의하는 일은 일반적이지 않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이미 있는 다양한 성공 지표를 조사하는 것이 좋음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455310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3 </a:t>
            </a:r>
            <a:r>
              <a:rPr lang="ko-KR" altLang="en-US" sz="4000" dirty="0"/>
              <a:t>평가 방법 선택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636340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현재 진척 상황을 평가할 방법을 정의</a:t>
            </a:r>
            <a:r>
              <a:rPr lang="en-US" altLang="ko-KR" sz="2200" dirty="0"/>
              <a:t>(</a:t>
            </a:r>
            <a:r>
              <a:rPr lang="ko-KR" altLang="en-US" sz="2200" dirty="0"/>
              <a:t>검증 방법 정의</a:t>
            </a:r>
            <a:r>
              <a:rPr lang="en-US" altLang="ko-KR" sz="2200" dirty="0"/>
              <a:t>)</a:t>
            </a:r>
          </a:p>
          <a:p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홀드아웃 검증 세트 분리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가 풍부할 때 사용</a:t>
            </a:r>
            <a:endParaRPr lang="en-US" altLang="ko-KR" sz="2200" dirty="0"/>
          </a:p>
          <a:p>
            <a:pPr marL="457200" indent="-457200">
              <a:buAutoNum type="arabicPeriod"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en-US" altLang="ko-KR" sz="2200" dirty="0"/>
              <a:t>K-</a:t>
            </a:r>
            <a:r>
              <a:rPr lang="ko-KR" altLang="en-US" sz="2200" dirty="0"/>
              <a:t>겹 교차 검증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수가 적을 때 사용</a:t>
            </a:r>
            <a:endParaRPr lang="en-US" altLang="ko-KR" sz="2200" dirty="0"/>
          </a:p>
          <a:p>
            <a:pPr marL="457200" indent="-457200">
              <a:buAutoNum type="arabicPeriod"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반복 </a:t>
            </a:r>
            <a:r>
              <a:rPr lang="en-US" altLang="ko-KR" sz="2200" dirty="0"/>
              <a:t>K-</a:t>
            </a:r>
            <a:r>
              <a:rPr lang="ko-KR" altLang="en-US" sz="2200" dirty="0"/>
              <a:t>겹 교차 검증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수가 적고</a:t>
            </a:r>
            <a:r>
              <a:rPr lang="en-US" altLang="ko-KR" sz="2200" dirty="0"/>
              <a:t>,</a:t>
            </a:r>
            <a:r>
              <a:rPr lang="ko-KR" altLang="en-US" sz="2200" dirty="0"/>
              <a:t> 매우 정확한 모델평가가 필요할 때 사용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7283547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4 </a:t>
            </a:r>
            <a:r>
              <a:rPr lang="ko-KR" altLang="en-US" sz="4000" dirty="0"/>
              <a:t>데이터 준비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636340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모델에 주입할 데이터를 </a:t>
            </a:r>
            <a:r>
              <a:rPr lang="ko-KR" altLang="en-US" sz="2200" dirty="0" err="1"/>
              <a:t>전처리</a:t>
            </a:r>
            <a:r>
              <a:rPr lang="en-US" altLang="ko-KR" sz="2200" dirty="0"/>
              <a:t>(</a:t>
            </a:r>
            <a:r>
              <a:rPr lang="ko-KR" altLang="en-US" sz="2200" dirty="0"/>
              <a:t>정규화</a:t>
            </a:r>
            <a:r>
              <a:rPr lang="en-US" altLang="ko-KR" sz="2200" dirty="0"/>
              <a:t>) </a:t>
            </a:r>
            <a:r>
              <a:rPr lang="ko-KR" altLang="en-US" sz="2200" dirty="0"/>
              <a:t>해야함</a:t>
            </a:r>
            <a:endParaRPr lang="en-US" altLang="ko-KR" sz="2200" dirty="0"/>
          </a:p>
          <a:p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 err="1"/>
              <a:t>텐서</a:t>
            </a:r>
            <a:r>
              <a:rPr lang="ko-KR" altLang="en-US" sz="2200" dirty="0"/>
              <a:t> 변환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는 </a:t>
            </a:r>
            <a:r>
              <a:rPr lang="ko-KR" altLang="en-US" sz="2200" dirty="0" err="1"/>
              <a:t>텐서로</a:t>
            </a:r>
            <a:r>
              <a:rPr lang="ko-KR" altLang="en-US" sz="2200" dirty="0"/>
              <a:t> 구성되며</a:t>
            </a:r>
            <a:r>
              <a:rPr lang="en-US" altLang="ko-KR" sz="2200" dirty="0"/>
              <a:t>, </a:t>
            </a:r>
            <a:r>
              <a:rPr lang="ko-KR" altLang="en-US" sz="2200" dirty="0"/>
              <a:t>일반적으로</a:t>
            </a:r>
            <a:r>
              <a:rPr lang="en-US" altLang="ko-KR" sz="2200" dirty="0"/>
              <a:t> </a:t>
            </a:r>
            <a:r>
              <a:rPr lang="ko-KR" altLang="en-US" sz="2200" dirty="0"/>
              <a:t>작은 값으로 조정되어 있음</a:t>
            </a:r>
            <a:endParaRPr lang="en-US" altLang="ko-KR" sz="2200" dirty="0"/>
          </a:p>
          <a:p>
            <a:pPr marL="457200" indent="-457200">
              <a:buAutoNum type="arabicPeriod"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정규화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의 특성 범위가 다를 경우</a:t>
            </a:r>
            <a:r>
              <a:rPr lang="en-US" altLang="ko-KR" sz="2200" dirty="0"/>
              <a:t>(</a:t>
            </a:r>
            <a:r>
              <a:rPr lang="ko-KR" altLang="en-US" sz="2200" dirty="0"/>
              <a:t>여러 종류일 경우</a:t>
            </a:r>
            <a:r>
              <a:rPr lang="en-US" altLang="ko-KR" sz="2200" dirty="0"/>
              <a:t>) </a:t>
            </a:r>
            <a:r>
              <a:rPr lang="ko-KR" altLang="en-US" sz="2200" dirty="0"/>
              <a:t>정규화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3.  </a:t>
            </a:r>
            <a:r>
              <a:rPr lang="ko-KR" altLang="en-US" sz="2200" dirty="0"/>
              <a:t>특성 공학 수행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가 적을 때 사용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39577777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5 </a:t>
            </a:r>
            <a:r>
              <a:rPr lang="ko-KR" altLang="en-US" sz="4000" dirty="0"/>
              <a:t>기본보다 나은 모델 훈련하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636340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이 단계의 목표는 통계적 </a:t>
            </a:r>
            <a:r>
              <a:rPr lang="ko-KR" altLang="en-US" sz="2200" dirty="0" err="1"/>
              <a:t>검정력</a:t>
            </a:r>
            <a:r>
              <a:rPr lang="ko-KR" altLang="en-US" sz="2200" dirty="0"/>
              <a:t> 달성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아주 단순한 모델보다 나은 수준의 작은 모델을 개발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높은 정확도를 내는 모델이 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갖는 것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예를 들어 주사위 문제에서 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달성하려면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정확도가 </a:t>
            </a:r>
            <a:r>
              <a:rPr lang="en-US" altLang="ko-KR" sz="2200" dirty="0"/>
              <a:t>0.16(6</a:t>
            </a:r>
            <a:r>
              <a:rPr lang="ko-KR" altLang="en-US" sz="2200" dirty="0"/>
              <a:t>분의 </a:t>
            </a:r>
            <a:r>
              <a:rPr lang="en-US" altLang="ko-KR" sz="2200" dirty="0"/>
              <a:t>1)</a:t>
            </a:r>
            <a:r>
              <a:rPr lang="ko-KR" altLang="en-US" sz="2200" dirty="0"/>
              <a:t>을 넘어야함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83217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5 </a:t>
            </a:r>
            <a:r>
              <a:rPr lang="ko-KR" altLang="en-US" sz="4000" dirty="0"/>
              <a:t>기본보다 나은 모델 훈련하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711234"/>
            <a:ext cx="10636340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최초로 모델을 만들 때 중요한 선택 </a:t>
            </a:r>
            <a:r>
              <a:rPr lang="en-US" altLang="ko-KR" sz="2200" dirty="0"/>
              <a:t>3</a:t>
            </a:r>
            <a:r>
              <a:rPr lang="ko-KR" altLang="en-US" sz="2200" dirty="0"/>
              <a:t>가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1. </a:t>
            </a:r>
            <a:r>
              <a:rPr lang="ko-KR" altLang="en-US" sz="2200" dirty="0"/>
              <a:t>마지막 층의 활성화 함수</a:t>
            </a:r>
            <a:r>
              <a:rPr lang="en-US" altLang="ko-KR" sz="2200" dirty="0"/>
              <a:t>: </a:t>
            </a:r>
            <a:r>
              <a:rPr lang="ko-KR" altLang="en-US" sz="2200" dirty="0"/>
              <a:t>네트워크의 출력에 필요한 제한을 가함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2. </a:t>
            </a:r>
            <a:r>
              <a:rPr lang="ko-KR" altLang="en-US" sz="2200" dirty="0"/>
              <a:t>손실함수</a:t>
            </a:r>
            <a:r>
              <a:rPr lang="en-US" altLang="ko-KR" sz="2200" dirty="0"/>
              <a:t>: </a:t>
            </a:r>
            <a:r>
              <a:rPr lang="ko-KR" altLang="en-US" sz="2200" dirty="0"/>
              <a:t>문제의 종류에 적합한 손실함수가 다름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3. </a:t>
            </a:r>
            <a:r>
              <a:rPr lang="ko-KR" altLang="en-US" sz="2200" dirty="0"/>
              <a:t>최적화 설정</a:t>
            </a:r>
            <a:r>
              <a:rPr lang="en-US" altLang="ko-KR" sz="2200" dirty="0"/>
              <a:t>: </a:t>
            </a:r>
            <a:r>
              <a:rPr lang="ko-KR" altLang="en-US" sz="2200" dirty="0" err="1"/>
              <a:t>옵티마이저</a:t>
            </a:r>
            <a:r>
              <a:rPr lang="ko-KR" altLang="en-US" sz="2200" dirty="0"/>
              <a:t> 종류와 </a:t>
            </a:r>
            <a:r>
              <a:rPr lang="ko-KR" altLang="en-US" sz="2200" dirty="0" err="1"/>
              <a:t>학습률을</a:t>
            </a:r>
            <a:r>
              <a:rPr lang="ko-KR" altLang="en-US" sz="2200" dirty="0"/>
              <a:t> 설정</a:t>
            </a:r>
            <a:r>
              <a:rPr lang="en-US" altLang="ko-KR" sz="2200" dirty="0"/>
              <a:t>, </a:t>
            </a:r>
          </a:p>
          <a:p>
            <a:pPr marL="0" indent="0">
              <a:buNone/>
            </a:pPr>
            <a:r>
              <a:rPr lang="en-US" altLang="ko-KR" sz="2200" dirty="0"/>
              <a:t>   </a:t>
            </a:r>
            <a:r>
              <a:rPr lang="ko-KR" altLang="en-US" sz="2200" dirty="0"/>
              <a:t>대부분의 경우 </a:t>
            </a:r>
            <a:r>
              <a:rPr lang="en-US" altLang="ko-KR" sz="2200" dirty="0" err="1"/>
              <a:t>rmsprop</a:t>
            </a:r>
            <a:r>
              <a:rPr lang="ko-KR" altLang="en-US" sz="2200" dirty="0"/>
              <a:t> </a:t>
            </a:r>
            <a:r>
              <a:rPr lang="ko-KR" altLang="en-US" sz="2200" dirty="0" err="1"/>
              <a:t>옵티마이저와</a:t>
            </a:r>
            <a:r>
              <a:rPr lang="ko-KR" altLang="en-US" sz="2200" dirty="0"/>
              <a:t> </a:t>
            </a:r>
            <a:r>
              <a:rPr lang="ko-KR" altLang="en-US" sz="2200" dirty="0" err="1"/>
              <a:t>기본학습률을</a:t>
            </a:r>
            <a:r>
              <a:rPr lang="ko-KR" altLang="en-US" sz="2200" dirty="0"/>
              <a:t> 설정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044F1D66-9F3C-4676-A0B3-99580D6A3C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837112"/>
              </p:ext>
            </p:extLst>
          </p:nvPr>
        </p:nvGraphicFramePr>
        <p:xfrm>
          <a:off x="986169" y="4352171"/>
          <a:ext cx="9059169" cy="2219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19723">
                  <a:extLst>
                    <a:ext uri="{9D8B030D-6E8A-4147-A177-3AD203B41FA5}">
                      <a16:colId xmlns:a16="http://schemas.microsoft.com/office/drawing/2014/main" val="56940363"/>
                    </a:ext>
                  </a:extLst>
                </a:gridCol>
                <a:gridCol w="3019723">
                  <a:extLst>
                    <a:ext uri="{9D8B030D-6E8A-4147-A177-3AD203B41FA5}">
                      <a16:colId xmlns:a16="http://schemas.microsoft.com/office/drawing/2014/main" val="1563680770"/>
                    </a:ext>
                  </a:extLst>
                </a:gridCol>
                <a:gridCol w="3019723">
                  <a:extLst>
                    <a:ext uri="{9D8B030D-6E8A-4147-A177-3AD203B41FA5}">
                      <a16:colId xmlns:a16="http://schemas.microsoft.com/office/drawing/2014/main" val="39186732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문제 유형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마지막 층 활성화 함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손실 함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335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이진 분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Sigmoid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Binary_cor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37018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단일 레이블 다중 분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Softmax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Categorical_cor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633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다중 레이블 다중 분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Sigmoid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Binary_cro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76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임의 값에 대한 회귀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없음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Mse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483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과</a:t>
                      </a:r>
                      <a:r>
                        <a:rPr lang="en-US" altLang="ko-KR" b="1" dirty="0"/>
                        <a:t>1 </a:t>
                      </a:r>
                      <a:r>
                        <a:rPr lang="ko-KR" altLang="en-US" b="1" dirty="0"/>
                        <a:t>사이 값에 대한 회귀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Sigmoid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Mse</a:t>
                      </a:r>
                      <a:r>
                        <a:rPr lang="en-US" altLang="ko-KR" b="1" dirty="0"/>
                        <a:t>, </a:t>
                      </a:r>
                      <a:r>
                        <a:rPr lang="en-US" altLang="ko-KR" b="1" dirty="0" err="1"/>
                        <a:t>binary_cro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97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139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961792" y="609803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1383475" y="2078893"/>
            <a:ext cx="6080676" cy="1126145"/>
            <a:chOff x="-140525" y="1484784"/>
            <a:chExt cx="6080676" cy="1126145"/>
          </a:xfrm>
        </p:grpSpPr>
        <p:grpSp>
          <p:nvGrpSpPr>
            <p:cNvPr id="21" name="그룹 20"/>
            <p:cNvGrpSpPr/>
            <p:nvPr>
              <p:custDataLst>
                <p:tags r:id="rId11"/>
              </p:custDataLst>
            </p:nvPr>
          </p:nvGrpSpPr>
          <p:grpSpPr>
            <a:xfrm>
              <a:off x="-140525" y="1484784"/>
              <a:ext cx="6080676" cy="1126145"/>
              <a:chOff x="551285" y="2889348"/>
              <a:chExt cx="6191342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551285" y="2890614"/>
                <a:ext cx="841366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4.1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41290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네트워크 크기 축소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383475" y="3432160"/>
            <a:ext cx="6440717" cy="1021318"/>
            <a:chOff x="-140525" y="2626123"/>
            <a:chExt cx="6440717" cy="1021318"/>
          </a:xfrm>
        </p:grpSpPr>
        <p:grpSp>
          <p:nvGrpSpPr>
            <p:cNvPr id="25" name="그룹 24"/>
            <p:cNvGrpSpPr/>
            <p:nvPr>
              <p:custDataLst>
                <p:tags r:id="rId7"/>
              </p:custDataLst>
            </p:nvPr>
          </p:nvGrpSpPr>
          <p:grpSpPr>
            <a:xfrm>
              <a:off x="-140525" y="2626123"/>
              <a:ext cx="6440717" cy="1021318"/>
              <a:chOff x="539252" y="3737816"/>
              <a:chExt cx="6440717" cy="576508"/>
            </a:xfrm>
          </p:grpSpPr>
          <p:sp>
            <p:nvSpPr>
              <p:cNvPr id="10" name="직사각형 9"/>
              <p:cNvSpPr/>
              <p:nvPr>
                <p:custDataLst>
                  <p:tags r:id="rId8"/>
                </p:custDataLst>
              </p:nvPr>
            </p:nvSpPr>
            <p:spPr>
              <a:xfrm>
                <a:off x="539252" y="3737942"/>
                <a:ext cx="867076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4.2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9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0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43540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가중치 규제 추가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383475" y="4674926"/>
            <a:ext cx="67985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3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4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4.3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5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6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43548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드롭아웃</a:t>
              </a:r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추가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30754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6 </a:t>
            </a:r>
            <a:r>
              <a:rPr lang="ko-KR" altLang="en-US" sz="4000" dirty="0"/>
              <a:t>몸집 키우기</a:t>
            </a:r>
            <a:r>
              <a:rPr lang="en-US" altLang="ko-KR" sz="4000" dirty="0"/>
              <a:t>: </a:t>
            </a:r>
            <a:r>
              <a:rPr lang="ko-KR" altLang="en-US" sz="4000" dirty="0"/>
              <a:t>과대적합 모델 구축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1977081"/>
            <a:ext cx="10636340" cy="5128054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달성했다면 충분한 성능을 가지는지 고민해야 함</a:t>
            </a:r>
            <a:endParaRPr lang="en-US" altLang="ko-KR" sz="2200" dirty="0"/>
          </a:p>
          <a:p>
            <a:r>
              <a:rPr lang="ko-KR" altLang="en-US" sz="2200" dirty="0" err="1"/>
              <a:t>머신러닝은</a:t>
            </a:r>
            <a:r>
              <a:rPr lang="ko-KR" altLang="en-US" sz="2200" dirty="0"/>
              <a:t> 최적화 일반화의 줄다리기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즉 과소적합과 과대적합 사이에 위치한 모델이 이상적임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/>
              <a:t>경계를 알기 위해 과대적합 모델을 </a:t>
            </a:r>
            <a:r>
              <a:rPr lang="ko-KR" altLang="en-US" sz="2200" dirty="0" err="1"/>
              <a:t>만들어야함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층을 추가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층의 크기를 증가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더 많은 </a:t>
            </a:r>
            <a:r>
              <a:rPr lang="ko-KR" altLang="en-US" sz="2200" dirty="0" err="1"/>
              <a:t>에포크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검증 데이터 손실이 증가하기 </a:t>
            </a:r>
            <a:r>
              <a:rPr lang="ko-KR" altLang="en-US" sz="2200" dirty="0" err="1"/>
              <a:t>시작했을때</a:t>
            </a:r>
            <a:r>
              <a:rPr lang="ko-KR" altLang="en-US" sz="2200" dirty="0"/>
              <a:t> 과대적합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 다음 단계에서 규제와 모델 튜닝 시작하여 이상적인 모델에 가깝게 </a:t>
            </a:r>
            <a:r>
              <a:rPr lang="ko-KR" altLang="en-US" sz="2200" dirty="0" err="1"/>
              <a:t>만듬</a:t>
            </a: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2713077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7 </a:t>
            </a:r>
            <a:r>
              <a:rPr lang="ko-KR" altLang="en-US" sz="4000" dirty="0"/>
              <a:t>모델 규제와 </a:t>
            </a:r>
            <a:r>
              <a:rPr lang="ko-KR" altLang="en-US" sz="4000" dirty="0" err="1"/>
              <a:t>하이퍼파라미터</a:t>
            </a:r>
            <a:r>
              <a:rPr lang="ko-KR" altLang="en-US" sz="4000" dirty="0"/>
              <a:t> 튜닝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360141"/>
            <a:ext cx="10636340" cy="3674899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대부분의 시간을 차지하는 단계</a:t>
            </a:r>
            <a:r>
              <a:rPr lang="en-US" altLang="ko-KR" sz="2200" dirty="0"/>
              <a:t>!</a:t>
            </a:r>
          </a:p>
          <a:p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 err="1"/>
              <a:t>드롭아웃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/>
              <a:t>층을 추가하거나 제거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L1</a:t>
            </a:r>
            <a:r>
              <a:rPr lang="ko-KR" altLang="en-US" sz="2200" dirty="0"/>
              <a:t>규제</a:t>
            </a:r>
            <a:r>
              <a:rPr lang="en-US" altLang="ko-KR" sz="2200" dirty="0"/>
              <a:t>, L2</a:t>
            </a:r>
            <a:r>
              <a:rPr lang="ko-KR" altLang="en-US" sz="2200" dirty="0"/>
              <a:t>규제</a:t>
            </a:r>
            <a:r>
              <a:rPr lang="en-US" altLang="ko-KR" sz="2200" dirty="0"/>
              <a:t> or</a:t>
            </a:r>
            <a:r>
              <a:rPr lang="ko-KR" altLang="en-US" sz="2200" dirty="0"/>
              <a:t> </a:t>
            </a:r>
            <a:r>
              <a:rPr lang="ko-KR" altLang="en-US" sz="2200" dirty="0" err="1"/>
              <a:t>둘다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 err="1"/>
              <a:t>하이퍼파라미터</a:t>
            </a:r>
            <a:r>
              <a:rPr lang="en-US" altLang="ko-KR" sz="2200" dirty="0"/>
              <a:t>(</a:t>
            </a:r>
            <a:r>
              <a:rPr lang="ko-KR" altLang="en-US" sz="2200" dirty="0" err="1"/>
              <a:t>층의수</a:t>
            </a:r>
            <a:r>
              <a:rPr lang="en-US" altLang="ko-KR" sz="2200" dirty="0"/>
              <a:t>,</a:t>
            </a:r>
            <a:r>
              <a:rPr lang="ko-KR" altLang="en-US" sz="2200" dirty="0"/>
              <a:t>층의 </a:t>
            </a:r>
            <a:r>
              <a:rPr lang="ko-KR" altLang="en-US" sz="2200" dirty="0" err="1"/>
              <a:t>유닛수</a:t>
            </a:r>
            <a:r>
              <a:rPr lang="en-US" altLang="ko-KR" sz="2200" dirty="0"/>
              <a:t>,</a:t>
            </a:r>
            <a:r>
              <a:rPr lang="ko-KR" altLang="en-US" sz="2200" dirty="0" err="1"/>
              <a:t>옵티마이저의</a:t>
            </a:r>
            <a:r>
              <a:rPr lang="ko-KR" altLang="en-US" sz="2200" dirty="0"/>
              <a:t> </a:t>
            </a:r>
            <a:r>
              <a:rPr lang="ko-KR" altLang="en-US" sz="2200" dirty="0" err="1"/>
              <a:t>학습률</a:t>
            </a:r>
            <a:r>
              <a:rPr lang="ko-KR" altLang="en-US" sz="2200" dirty="0"/>
              <a:t> 등</a:t>
            </a:r>
            <a:r>
              <a:rPr lang="en-US" altLang="ko-KR" sz="2200" dirty="0"/>
              <a:t>)</a:t>
            </a:r>
            <a:r>
              <a:rPr lang="ko-KR" altLang="en-US" sz="2200" dirty="0"/>
              <a:t> 수정</a:t>
            </a:r>
            <a:r>
              <a:rPr lang="en-US" altLang="ko-KR" sz="2200" dirty="0"/>
              <a:t>.</a:t>
            </a:r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/>
              <a:t>특성공학 시도</a:t>
            </a:r>
            <a:r>
              <a:rPr lang="en-US" altLang="ko-KR" sz="2200" dirty="0"/>
              <a:t>(</a:t>
            </a:r>
            <a:r>
              <a:rPr lang="ko-KR" altLang="en-US" sz="2200" dirty="0"/>
              <a:t>새로운 특성추가 </a:t>
            </a:r>
            <a:r>
              <a:rPr lang="en-US" altLang="ko-KR" sz="2200" dirty="0"/>
              <a:t>or </a:t>
            </a:r>
            <a:r>
              <a:rPr lang="ko-KR" altLang="en-US" sz="2200" dirty="0"/>
              <a:t>유용하지 않은 특성제거</a:t>
            </a:r>
            <a:r>
              <a:rPr lang="en-US" altLang="ko-KR" sz="22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77094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6 </a:t>
            </a:r>
            <a:r>
              <a:rPr lang="ko-KR" altLang="en-US" sz="4000" dirty="0"/>
              <a:t>요약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360141"/>
            <a:ext cx="10636340" cy="3674899"/>
          </a:xfrm>
        </p:spPr>
        <p:txBody>
          <a:bodyPr anchor="ctr">
            <a:normAutofit/>
          </a:bodyPr>
          <a:lstStyle/>
          <a:p>
            <a:pPr marL="457200" indent="-457200">
              <a:buAutoNum type="arabicPeriod"/>
            </a:pPr>
            <a:r>
              <a:rPr lang="ko-KR" altLang="en-US" sz="2200" dirty="0"/>
              <a:t>문제와 데이터 정의</a:t>
            </a:r>
            <a:r>
              <a:rPr lang="en-US" altLang="ko-KR" sz="2200" dirty="0"/>
              <a:t>, </a:t>
            </a:r>
            <a:r>
              <a:rPr lang="ko-KR" altLang="en-US" sz="2200" dirty="0"/>
              <a:t>데이터 수집</a:t>
            </a:r>
            <a:r>
              <a:rPr lang="en-US" altLang="ko-KR" sz="2200" dirty="0"/>
              <a:t>, </a:t>
            </a:r>
            <a:r>
              <a:rPr lang="ko-KR" altLang="en-US" sz="2200" dirty="0"/>
              <a:t>필요하면 레이블 </a:t>
            </a:r>
            <a:r>
              <a:rPr lang="ko-KR" altLang="en-US" sz="2200" dirty="0" err="1"/>
              <a:t>태깅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성공 지표 정의</a:t>
            </a:r>
            <a:r>
              <a:rPr lang="en-US" altLang="ko-KR" sz="2200" dirty="0"/>
              <a:t>(</a:t>
            </a:r>
            <a:r>
              <a:rPr lang="ko-KR" altLang="en-US" sz="2200" dirty="0"/>
              <a:t>검증 데이터에서 모니터링할 지표</a:t>
            </a:r>
            <a:r>
              <a:rPr lang="en-US" altLang="ko-KR" sz="2200" dirty="0"/>
              <a:t>, </a:t>
            </a:r>
            <a:r>
              <a:rPr lang="ko-KR" altLang="en-US" sz="2200" dirty="0"/>
              <a:t>정확도 등</a:t>
            </a:r>
            <a:r>
              <a:rPr lang="en-US" altLang="ko-KR" sz="2200" dirty="0"/>
              <a:t>)</a:t>
            </a:r>
          </a:p>
          <a:p>
            <a:pPr marL="457200" indent="-457200">
              <a:buAutoNum type="arabicPeriod" startAt="3"/>
            </a:pPr>
            <a:r>
              <a:rPr lang="ko-KR" altLang="en-US" sz="2200" dirty="0"/>
              <a:t>검증 방법 정의</a:t>
            </a:r>
            <a:r>
              <a:rPr lang="en-US" altLang="ko-KR" sz="2200" dirty="0"/>
              <a:t>(</a:t>
            </a:r>
            <a:r>
              <a:rPr lang="ko-KR" altLang="en-US" sz="2200" dirty="0"/>
              <a:t>홀드 아웃 검증</a:t>
            </a:r>
            <a:r>
              <a:rPr lang="en-US" altLang="ko-KR" sz="2200" dirty="0"/>
              <a:t>, k-</a:t>
            </a:r>
            <a:r>
              <a:rPr lang="ko-KR" altLang="en-US" sz="2200" dirty="0"/>
              <a:t>겹 교차검증 등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r>
              <a:rPr lang="en-US" altLang="ko-KR" sz="2200" dirty="0"/>
              <a:t>4.  </a:t>
            </a:r>
            <a:r>
              <a:rPr lang="ko-KR" altLang="en-US" sz="2200" dirty="0"/>
              <a:t>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달성할 최초 모델 설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5.  </a:t>
            </a:r>
            <a:r>
              <a:rPr lang="ko-KR" altLang="en-US" sz="2200" dirty="0"/>
              <a:t>과대적합 모델 생성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6.  </a:t>
            </a:r>
            <a:r>
              <a:rPr lang="ko-KR" altLang="en-US" sz="2200" dirty="0"/>
              <a:t>규제 및 </a:t>
            </a:r>
            <a:r>
              <a:rPr lang="ko-KR" altLang="en-US" sz="2200" dirty="0" err="1"/>
              <a:t>하이퍼파라미터</a:t>
            </a:r>
            <a:r>
              <a:rPr lang="ko-KR" altLang="en-US" sz="2200" dirty="0"/>
              <a:t> 튜닝</a:t>
            </a:r>
            <a:endParaRPr lang="en-US" altLang="ko-KR" sz="2200" dirty="0"/>
          </a:p>
        </p:txBody>
      </p:sp>
    </p:spTree>
    <p:extLst>
      <p:ext uri="{BB962C8B-B14F-4D97-AF65-F5344CB8AC3E}">
        <p14:creationId xmlns:p14="http://schemas.microsoft.com/office/powerpoint/2010/main" val="2717434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ko-KR" altLang="en-US" sz="3800" dirty="0"/>
              <a:t>과대적합과 과소적합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791" y="2113734"/>
            <a:ext cx="10143668" cy="3865585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1700" dirty="0" err="1"/>
              <a:t>머신러닝의</a:t>
            </a:r>
            <a:r>
              <a:rPr lang="ko-KR" altLang="en-US" sz="1700" dirty="0"/>
              <a:t> 근본적인 이슈 </a:t>
            </a:r>
            <a:r>
              <a:rPr lang="en-US" altLang="ko-KR" sz="1700" dirty="0"/>
              <a:t>-&gt; </a:t>
            </a:r>
            <a:r>
              <a:rPr lang="ko-KR" altLang="en-US" sz="1700" dirty="0"/>
              <a:t>최적화와 일반화 사이의 줄다리기</a:t>
            </a:r>
            <a:r>
              <a:rPr lang="en-US" altLang="ko-KR" sz="1700" dirty="0"/>
              <a:t>?</a:t>
            </a:r>
          </a:p>
          <a:p>
            <a:pPr marL="0" indent="0">
              <a:buNone/>
            </a:pPr>
            <a:r>
              <a:rPr lang="ko-KR" altLang="en-US" sz="1700" dirty="0"/>
              <a:t>   최적화 </a:t>
            </a:r>
            <a:r>
              <a:rPr lang="en-US" altLang="ko-KR" sz="1700" dirty="0"/>
              <a:t>= </a:t>
            </a:r>
            <a:r>
              <a:rPr lang="ko-KR" altLang="en-US" sz="1700" dirty="0"/>
              <a:t>가능한 훈련데이터에서 최고의 성능을 얻으려고 모델 조정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</a:t>
            </a:r>
            <a:r>
              <a:rPr lang="ko-KR" altLang="en-US" sz="1700" dirty="0"/>
              <a:t>일반화</a:t>
            </a:r>
            <a:r>
              <a:rPr lang="en-US" altLang="ko-KR" sz="1700" dirty="0"/>
              <a:t> = </a:t>
            </a:r>
            <a:r>
              <a:rPr lang="ko-KR" altLang="en-US" sz="1700" dirty="0"/>
              <a:t>훈련된 모델이 이전에 본 적 없는 데이터에서 얼마나 잘 수행되는지 의미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-&gt;</a:t>
            </a:r>
            <a:r>
              <a:rPr lang="ko-KR" altLang="en-US" sz="1700" dirty="0">
                <a:solidFill>
                  <a:srgbClr val="FF0000"/>
                </a:solidFill>
              </a:rPr>
              <a:t>모델을 만드는 목적은 좋은 일반화 성능을 얻는 것</a:t>
            </a:r>
            <a:r>
              <a:rPr lang="en-US" altLang="ko-KR" sz="1700" dirty="0">
                <a:solidFill>
                  <a:srgbClr val="FF0000"/>
                </a:solidFill>
              </a:rPr>
              <a:t>!</a:t>
            </a:r>
          </a:p>
          <a:p>
            <a:pPr marL="0" indent="0">
              <a:buNone/>
            </a:pPr>
            <a:endParaRPr lang="en-US" altLang="ko-KR" sz="1700" dirty="0"/>
          </a:p>
          <a:p>
            <a:r>
              <a:rPr lang="ko-KR" altLang="en-US" sz="1700" dirty="0"/>
              <a:t>과소적합 </a:t>
            </a:r>
            <a:r>
              <a:rPr lang="en-US" altLang="ko-KR" sz="1700" dirty="0"/>
              <a:t>: </a:t>
            </a:r>
            <a:r>
              <a:rPr lang="ko-KR" altLang="en-US" sz="1700" dirty="0"/>
              <a:t>신경망</a:t>
            </a:r>
            <a:r>
              <a:rPr lang="en-US" altLang="ko-KR" sz="1700" dirty="0"/>
              <a:t>(</a:t>
            </a:r>
            <a:r>
              <a:rPr lang="ko-KR" altLang="en-US" sz="1700" dirty="0"/>
              <a:t>네트워크</a:t>
            </a:r>
            <a:r>
              <a:rPr lang="en-US" altLang="ko-KR" sz="1700" dirty="0"/>
              <a:t>)</a:t>
            </a:r>
            <a:r>
              <a:rPr lang="ko-KR" altLang="en-US" sz="1700" dirty="0"/>
              <a:t>이 훈련 데이터에 있는 관련 특성을 모두 학습하지  못함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               </a:t>
            </a:r>
            <a:r>
              <a:rPr lang="ko-KR" altLang="en-US" sz="1700" dirty="0"/>
              <a:t>훈련손실이 줄어들수록 검증손실도 </a:t>
            </a:r>
            <a:r>
              <a:rPr lang="ko-KR" altLang="en-US" sz="1700" dirty="0" err="1"/>
              <a:t>줄어들음</a:t>
            </a:r>
            <a:r>
              <a:rPr lang="en-US" altLang="ko-KR" sz="1700" dirty="0"/>
              <a:t>-&gt;</a:t>
            </a:r>
            <a:r>
              <a:rPr lang="ko-KR" altLang="en-US" sz="1700" dirty="0"/>
              <a:t>성능이 발전될 여지가 있음</a:t>
            </a:r>
            <a:endParaRPr lang="en-US" altLang="ko-KR" sz="1700" dirty="0"/>
          </a:p>
          <a:p>
            <a:r>
              <a:rPr lang="ko-KR" altLang="en-US" sz="1700" dirty="0"/>
              <a:t>과대적합 </a:t>
            </a:r>
            <a:r>
              <a:rPr lang="en-US" altLang="ko-KR" sz="1700" dirty="0"/>
              <a:t>: </a:t>
            </a:r>
            <a:r>
              <a:rPr lang="ko-KR" altLang="en-US" sz="1700" dirty="0"/>
              <a:t>훈련데이터를 여러 번 반복 </a:t>
            </a:r>
            <a:r>
              <a:rPr lang="ko-KR" altLang="en-US" sz="1700" dirty="0" err="1"/>
              <a:t>학습하다보면</a:t>
            </a:r>
            <a:r>
              <a:rPr lang="ko-KR" altLang="en-US" sz="1700" dirty="0"/>
              <a:t> 어느 시점부터 일반화 성능이 향상되지 않음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              </a:t>
            </a:r>
            <a:r>
              <a:rPr lang="ko-KR" altLang="en-US" sz="1700" dirty="0"/>
              <a:t>훈련손실이 낮아지는데 검증 손실이 그대로이거나 증가함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-&gt;</a:t>
            </a:r>
            <a:r>
              <a:rPr lang="ko-KR" altLang="en-US" sz="1700" dirty="0"/>
              <a:t>해결법</a:t>
            </a:r>
            <a:r>
              <a:rPr lang="en-US" altLang="ko-KR" sz="1700" dirty="0"/>
              <a:t>: 1. </a:t>
            </a:r>
            <a:r>
              <a:rPr lang="ko-KR" altLang="en-US" sz="1700" dirty="0"/>
              <a:t>더 많은 훈련데이터를 모으는 것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             2. </a:t>
            </a:r>
            <a:r>
              <a:rPr lang="ko-KR" altLang="en-US" sz="1700" dirty="0"/>
              <a:t>정보에 제약을 가함</a:t>
            </a:r>
            <a:endParaRPr lang="en-US" altLang="ko-KR" sz="1700" dirty="0"/>
          </a:p>
        </p:txBody>
      </p:sp>
    </p:spTree>
    <p:extLst>
      <p:ext uri="{BB962C8B-B14F-4D97-AF65-F5344CB8AC3E}">
        <p14:creationId xmlns:p14="http://schemas.microsoft.com/office/powerpoint/2010/main" val="2520615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.1 </a:t>
            </a:r>
            <a:r>
              <a:rPr lang="ko-KR" altLang="en-US" sz="4000" dirty="0"/>
              <a:t>네트워크 크기 축소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네트워크</a:t>
            </a:r>
            <a:r>
              <a:rPr lang="en-US" altLang="ko-KR" sz="2200" dirty="0"/>
              <a:t>(</a:t>
            </a:r>
            <a:r>
              <a:rPr lang="ko-KR" altLang="en-US" sz="2200" dirty="0"/>
              <a:t>신경망</a:t>
            </a:r>
            <a:r>
              <a:rPr lang="en-US" altLang="ko-KR" sz="2200" dirty="0"/>
              <a:t>)</a:t>
            </a:r>
            <a:r>
              <a:rPr lang="ko-KR" altLang="en-US" sz="2200" dirty="0"/>
              <a:t>의 크기 축소 </a:t>
            </a:r>
            <a:r>
              <a:rPr lang="en-US" altLang="ko-KR" sz="2200" dirty="0"/>
              <a:t>: </a:t>
            </a:r>
            <a:r>
              <a:rPr lang="ko-KR" altLang="en-US" sz="2200" dirty="0"/>
              <a:t>과대적합을 막는 가장 단순한 방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-&gt;1.</a:t>
            </a:r>
            <a:r>
              <a:rPr lang="ko-KR" altLang="en-US" sz="2200" dirty="0"/>
              <a:t> 학습 파라미터의 수</a:t>
            </a:r>
            <a:r>
              <a:rPr lang="en-US" altLang="ko-KR" sz="2200" dirty="0"/>
              <a:t>(</a:t>
            </a:r>
            <a:r>
              <a:rPr lang="ko-KR" altLang="en-US" sz="2200" dirty="0"/>
              <a:t>층의 개수</a:t>
            </a:r>
            <a:r>
              <a:rPr lang="en-US" altLang="ko-KR" sz="2200" dirty="0"/>
              <a:t>, </a:t>
            </a:r>
            <a:r>
              <a:rPr lang="ko-KR" altLang="en-US" sz="2200" dirty="0"/>
              <a:t>각층의 </a:t>
            </a:r>
            <a:r>
              <a:rPr lang="ko-KR" altLang="en-US" sz="2200" dirty="0" err="1"/>
              <a:t>유닛수</a:t>
            </a:r>
            <a:r>
              <a:rPr lang="en-US" altLang="ko-KR" sz="2200" dirty="0"/>
              <a:t>)</a:t>
            </a:r>
            <a:r>
              <a:rPr lang="ko-KR" altLang="en-US" sz="2200" dirty="0"/>
              <a:t>를 줄인다</a:t>
            </a:r>
            <a:r>
              <a:rPr lang="en-US" altLang="ko-KR" sz="2200" dirty="0"/>
              <a:t>.</a:t>
            </a:r>
          </a:p>
          <a:p>
            <a:pPr marL="0" indent="0">
              <a:buNone/>
            </a:pPr>
            <a:r>
              <a:rPr lang="en-US" altLang="ko-KR" sz="2200" dirty="0"/>
              <a:t>      2. </a:t>
            </a:r>
            <a:r>
              <a:rPr lang="ko-KR" altLang="en-US" sz="2200" dirty="0"/>
              <a:t>그러나 너무 적으면 </a:t>
            </a:r>
            <a:r>
              <a:rPr lang="ko-KR" altLang="en-US" sz="2200" dirty="0" err="1"/>
              <a:t>과소적합되므로</a:t>
            </a:r>
            <a:r>
              <a:rPr lang="ko-KR" altLang="en-US" sz="2200" dirty="0"/>
              <a:t> 충분한 파라미터는 </a:t>
            </a:r>
            <a:r>
              <a:rPr lang="ko-KR" altLang="en-US" sz="2200" dirty="0" err="1"/>
              <a:t>가져야됨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-&gt;</a:t>
            </a:r>
            <a:r>
              <a:rPr lang="ko-KR" altLang="en-US" sz="2200" dirty="0"/>
              <a:t>알맞은 층의 수나 각층의 유닛 수를 결정할 마법 같은 공식이 없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</a:t>
            </a:r>
            <a:r>
              <a:rPr lang="ko-KR" altLang="en-US" sz="2200" dirty="0"/>
              <a:t>즉</a:t>
            </a:r>
            <a:r>
              <a:rPr lang="en-US" altLang="ko-KR" sz="2200" dirty="0"/>
              <a:t>, </a:t>
            </a:r>
            <a:r>
              <a:rPr lang="ko-KR" altLang="en-US" sz="2200" dirty="0"/>
              <a:t>알맞은 모델크기를 찾으려면 적은 수의 층과 파라미터로 시작한다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     </a:t>
            </a:r>
            <a:r>
              <a:rPr lang="ko-KR" altLang="en-US" sz="2200" dirty="0"/>
              <a:t>검증 손실이 감소될 때 까지 수를 </a:t>
            </a:r>
            <a:r>
              <a:rPr lang="ko-KR" altLang="en-US" sz="2200" dirty="0" err="1"/>
              <a:t>늘려야됨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01420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792" y="94213"/>
            <a:ext cx="4560584" cy="1128068"/>
          </a:xfrm>
        </p:spPr>
        <p:txBody>
          <a:bodyPr anchor="ctr">
            <a:normAutofit/>
          </a:bodyPr>
          <a:lstStyle/>
          <a:p>
            <a:r>
              <a:rPr lang="en-US" altLang="ko-KR" sz="2800" dirty="0"/>
              <a:t>4.4.1 </a:t>
            </a:r>
            <a:r>
              <a:rPr lang="ko-KR" altLang="en-US" sz="2800" dirty="0"/>
              <a:t>네트워크 크기축소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550" y="5459520"/>
            <a:ext cx="6383456" cy="1207293"/>
          </a:xfrm>
        </p:spPr>
        <p:txBody>
          <a:bodyPr anchor="ctr">
            <a:normAutofit fontScale="85000" lnSpcReduction="20000"/>
          </a:bodyPr>
          <a:lstStyle/>
          <a:p>
            <a:r>
              <a:rPr lang="ko-KR" altLang="en-US" sz="2000" dirty="0"/>
              <a:t>원본 모델보다 각 층의 </a:t>
            </a:r>
            <a:r>
              <a:rPr lang="ko-KR" altLang="en-US" sz="2000" dirty="0" err="1"/>
              <a:t>유닛수를</a:t>
            </a:r>
            <a:r>
              <a:rPr lang="ko-KR" altLang="en-US" sz="2000" dirty="0"/>
              <a:t> 줄였을 때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-&gt; </a:t>
            </a:r>
            <a:r>
              <a:rPr lang="ko-KR" altLang="en-US" sz="2000" dirty="0"/>
              <a:t>과대적합이 느리게 진행</a:t>
            </a:r>
            <a:endParaRPr lang="en-US" altLang="ko-KR" sz="2000" dirty="0"/>
          </a:p>
          <a:p>
            <a:r>
              <a:rPr lang="ko-KR" altLang="en-US" sz="2000" dirty="0"/>
              <a:t>원본 모델보다 각 층의 </a:t>
            </a:r>
            <a:r>
              <a:rPr lang="ko-KR" altLang="en-US" sz="2000" dirty="0" err="1"/>
              <a:t>유닛수를</a:t>
            </a:r>
            <a:r>
              <a:rPr lang="ko-KR" altLang="en-US" sz="2000" dirty="0"/>
              <a:t> 늘렸을 때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-&gt; </a:t>
            </a:r>
            <a:r>
              <a:rPr lang="ko-KR" altLang="en-US" sz="2000" dirty="0"/>
              <a:t>과대적합이 빠르게 진행</a:t>
            </a: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5446FF0-C968-494B-ACCC-017DDD034AD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4319" y="1398480"/>
            <a:ext cx="5781675" cy="3638550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F2854FD6-88C9-42CA-B178-0C5F68EF85F2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49018" y="785814"/>
            <a:ext cx="4280991" cy="5010814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B1268A6F-2999-492F-987B-BBE68A25FFEC}"/>
              </a:ext>
            </a:extLst>
          </p:cNvPr>
          <p:cNvCxnSpPr/>
          <p:nvPr/>
        </p:nvCxnSpPr>
        <p:spPr>
          <a:xfrm flipV="1">
            <a:off x="6081710" y="2402508"/>
            <a:ext cx="1153028" cy="1190127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B8C6BCE1-8E1A-4E67-9616-3156D52D4D29}"/>
              </a:ext>
            </a:extLst>
          </p:cNvPr>
          <p:cNvCxnSpPr>
            <a:cxnSpLocks/>
          </p:cNvCxnSpPr>
          <p:nvPr/>
        </p:nvCxnSpPr>
        <p:spPr>
          <a:xfrm>
            <a:off x="6095994" y="4577411"/>
            <a:ext cx="1153024" cy="170434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1709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/>
              <a:t>4.4.2 </a:t>
            </a:r>
            <a:r>
              <a:rPr lang="ko-KR" altLang="en-US" sz="4000"/>
              <a:t>가중치 규제 추가</a:t>
            </a:r>
            <a:endParaRPr lang="ko-KR" altLang="en-US" sz="40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fontScale="92500" lnSpcReduction="20000"/>
          </a:bodyPr>
          <a:lstStyle/>
          <a:p>
            <a:r>
              <a:rPr lang="ko-KR" altLang="en-US" sz="2200" dirty="0"/>
              <a:t>가중치 규제 </a:t>
            </a:r>
            <a:r>
              <a:rPr lang="en-US" altLang="ko-KR" sz="2200" dirty="0"/>
              <a:t>: </a:t>
            </a:r>
            <a:r>
              <a:rPr lang="ko-KR" altLang="en-US" sz="2200" dirty="0"/>
              <a:t>과대적합을 완화하는 일반적인 방법으로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 err="1"/>
              <a:t>네트워트의</a:t>
            </a:r>
            <a:r>
              <a:rPr lang="ko-KR" altLang="en-US" sz="2200" dirty="0"/>
              <a:t> 복잡도에 제한을 두어 </a:t>
            </a:r>
            <a:r>
              <a:rPr lang="ko-KR" altLang="en-US" sz="2200" dirty="0">
                <a:solidFill>
                  <a:srgbClr val="FF0000"/>
                </a:solidFill>
              </a:rPr>
              <a:t>가중치가 작은 값을 가지도록</a:t>
            </a:r>
            <a:r>
              <a:rPr lang="ko-KR" altLang="en-US" sz="2200" dirty="0"/>
              <a:t> </a:t>
            </a:r>
            <a:r>
              <a:rPr lang="ko-KR" altLang="en-US" sz="2200" dirty="0" err="1"/>
              <a:t>강제하는것</a:t>
            </a:r>
            <a:r>
              <a:rPr lang="en-US" altLang="ko-KR" sz="2200" dirty="0"/>
              <a:t>!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/>
              <a:t>두가지 형태의 규제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L1 </a:t>
            </a:r>
            <a:r>
              <a:rPr lang="ko-KR" altLang="en-US" sz="2200" dirty="0"/>
              <a:t>규제</a:t>
            </a:r>
            <a:r>
              <a:rPr lang="en-US" altLang="ko-KR" sz="2200" dirty="0"/>
              <a:t>: </a:t>
            </a:r>
            <a:r>
              <a:rPr lang="ko-KR" altLang="en-US" sz="2200" dirty="0"/>
              <a:t>가중치의 절댓값에 비례하는 비용이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L2 </a:t>
            </a:r>
            <a:r>
              <a:rPr lang="ko-KR" altLang="en-US" sz="2200" dirty="0"/>
              <a:t>규제</a:t>
            </a:r>
            <a:r>
              <a:rPr lang="en-US" altLang="ko-KR" sz="2200" dirty="0"/>
              <a:t>: </a:t>
            </a:r>
            <a:r>
              <a:rPr lang="ko-KR" altLang="en-US" sz="2200" dirty="0"/>
              <a:t>가중치의 제곱에 비례하는 비용이 추가</a:t>
            </a:r>
            <a:r>
              <a:rPr lang="en-US" altLang="ko-KR" sz="2200" dirty="0"/>
              <a:t>(</a:t>
            </a:r>
            <a:r>
              <a:rPr lang="ko-KR" altLang="en-US" sz="2200" dirty="0"/>
              <a:t>가중치 감쇠라고도 부름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793992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/>
              <a:t>4.4.2 </a:t>
            </a:r>
            <a:r>
              <a:rPr lang="ko-KR" altLang="en-US" sz="4000"/>
              <a:t>가중치 규제 추가</a:t>
            </a:r>
            <a:endParaRPr lang="ko-KR" altLang="en-US" sz="40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396" y="3899263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네트워크에 </a:t>
            </a:r>
            <a:r>
              <a:rPr lang="en-US" altLang="ko-KR" sz="2200" dirty="0"/>
              <a:t>L2 </a:t>
            </a:r>
            <a:r>
              <a:rPr lang="ko-KR" altLang="en-US" sz="2200" dirty="0"/>
              <a:t>가중치규제를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-&gt; </a:t>
            </a:r>
            <a:r>
              <a:rPr lang="ko-KR" altLang="en-US" sz="2200" dirty="0"/>
              <a:t>가중치 행렬의 </a:t>
            </a:r>
            <a:r>
              <a:rPr lang="ko-KR" altLang="en-US" sz="2200" dirty="0" err="1"/>
              <a:t>모든원소를</a:t>
            </a:r>
            <a:r>
              <a:rPr lang="ko-KR" altLang="en-US" sz="2200" dirty="0"/>
              <a:t> 제곱하고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0.001</a:t>
            </a:r>
            <a:r>
              <a:rPr lang="ko-KR" altLang="en-US" sz="2200" dirty="0"/>
              <a:t>을 곱하여 전체 손실에 더해진다는 의미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과대적합에 잘 견디는 것을 확인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89A6352-E782-4ECE-A9FE-739CDE0BF4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3330" b="25640"/>
          <a:stretch/>
        </p:blipFill>
        <p:spPr>
          <a:xfrm>
            <a:off x="997863" y="1837965"/>
            <a:ext cx="8858250" cy="1677880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B21DE84-83B4-41F4-8DC5-71AC38F2ABE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61114" y="3830347"/>
            <a:ext cx="4146842" cy="2619773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220895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.3 </a:t>
            </a:r>
            <a:r>
              <a:rPr lang="ko-KR" altLang="en-US" sz="4000" dirty="0" err="1"/>
              <a:t>드롭아웃</a:t>
            </a:r>
            <a:r>
              <a:rPr lang="ko-KR" altLang="en-US" sz="4000" dirty="0"/>
              <a:t> 추가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638" y="2062823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드롭 아웃</a:t>
            </a:r>
            <a:r>
              <a:rPr lang="en-US" altLang="ko-KR" sz="2200" dirty="0"/>
              <a:t>: </a:t>
            </a:r>
            <a:r>
              <a:rPr lang="ko-KR" altLang="en-US" sz="2200" dirty="0"/>
              <a:t>훈련하는 동안 무작위로 층의 일부 출력 특성을 제외 시킴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  -&gt; </a:t>
            </a:r>
            <a:r>
              <a:rPr lang="ko-KR" altLang="en-US" sz="2200" dirty="0"/>
              <a:t>어떤 입력 샘플에 대해 출력되는 벡터의 일부가 무작위로 </a:t>
            </a:r>
            <a:r>
              <a:rPr lang="en-US" altLang="ko-KR" sz="2200" dirty="0"/>
              <a:t>0</a:t>
            </a:r>
            <a:r>
              <a:rPr lang="ko-KR" altLang="en-US" sz="2200" dirty="0"/>
              <a:t>으로 바뀜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</a:t>
            </a:r>
            <a:r>
              <a:rPr lang="ko-KR" altLang="en-US" sz="2200" dirty="0"/>
              <a:t>드롭 아웃 비율</a:t>
            </a:r>
            <a:r>
              <a:rPr lang="en-US" altLang="ko-KR" sz="2200" dirty="0"/>
              <a:t>: 0</a:t>
            </a:r>
            <a:r>
              <a:rPr lang="ko-KR" altLang="en-US" sz="2200" dirty="0"/>
              <a:t>이 될 특성의 비율로 보통 </a:t>
            </a:r>
            <a:r>
              <a:rPr lang="en-US" altLang="ko-KR" sz="2200" dirty="0"/>
              <a:t>0.2</a:t>
            </a:r>
            <a:r>
              <a:rPr lang="ko-KR" altLang="en-US" sz="2200" dirty="0"/>
              <a:t>에서 </a:t>
            </a:r>
            <a:r>
              <a:rPr lang="en-US" altLang="ko-KR" sz="2200" dirty="0"/>
              <a:t>0.5</a:t>
            </a:r>
            <a:r>
              <a:rPr lang="ko-KR" altLang="en-US" sz="2200" dirty="0"/>
              <a:t>사이로 지정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20159AE-44BA-447D-A42F-B6A457ED978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719183" y="3780588"/>
            <a:ext cx="5415610" cy="2891983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60222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.3 </a:t>
            </a:r>
            <a:r>
              <a:rPr lang="ko-KR" altLang="en-US" sz="4000" dirty="0" err="1"/>
              <a:t>드롭아웃</a:t>
            </a:r>
            <a:r>
              <a:rPr lang="ko-KR" altLang="en-US" sz="4000" dirty="0"/>
              <a:t> 추가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73" y="3564732"/>
            <a:ext cx="5993608" cy="3164536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네트워크에 </a:t>
            </a:r>
            <a:r>
              <a:rPr lang="ko-KR" altLang="en-US" sz="2200" dirty="0" err="1"/>
              <a:t>드롭아웃을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-&gt;</a:t>
            </a:r>
            <a:r>
              <a:rPr lang="ko-KR" altLang="en-US" sz="2200" dirty="0"/>
              <a:t> </a:t>
            </a:r>
            <a:r>
              <a:rPr lang="ko-KR" altLang="en-US" sz="2200" dirty="0" err="1"/>
              <a:t>드롭아웃</a:t>
            </a:r>
            <a:r>
              <a:rPr lang="ko-KR" altLang="en-US" sz="2200" dirty="0"/>
              <a:t> 비율은 </a:t>
            </a:r>
            <a:r>
              <a:rPr lang="en-US" altLang="ko-KR" sz="2200" dirty="0"/>
              <a:t>0.5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과대적합이 완만함</a:t>
            </a: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AA7AD4F-A4EC-4F88-994F-E8895730BCE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8638" y="1698951"/>
            <a:ext cx="8320157" cy="1594318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83ABB79B-16BB-4BE2-80FA-06A7ADCDB72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63941" y="3564732"/>
            <a:ext cx="4819650" cy="3038475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433768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1</TotalTime>
  <Words>1040</Words>
  <Application>Microsoft Office PowerPoint</Application>
  <PresentationFormat>와이드스크린</PresentationFormat>
  <Paragraphs>184</Paragraphs>
  <Slides>2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28" baseType="lpstr">
      <vt:lpstr>Sandoll 고딕Neo1유니코드 03 Lt</vt:lpstr>
      <vt:lpstr>Sandoll 고딕Neo2유니 06 Bd</vt:lpstr>
      <vt:lpstr>맑은 고딕</vt:lpstr>
      <vt:lpstr>Arial</vt:lpstr>
      <vt:lpstr>Office 테마</vt:lpstr>
      <vt:lpstr>think-cell Slide</vt:lpstr>
      <vt:lpstr>PowerPoint 프레젠테이션</vt:lpstr>
      <vt:lpstr>PowerPoint 프레젠테이션</vt:lpstr>
      <vt:lpstr>과대적합과 과소적합</vt:lpstr>
      <vt:lpstr>4.4.1 네트워크 크기 축소</vt:lpstr>
      <vt:lpstr>4.4.1 네트워크 크기축소</vt:lpstr>
      <vt:lpstr>4.4.2 가중치 규제 추가</vt:lpstr>
      <vt:lpstr>4.4.2 가중치 규제 추가</vt:lpstr>
      <vt:lpstr>4.4.3 드롭아웃 추가</vt:lpstr>
      <vt:lpstr>4.4.3 드롭아웃 추가</vt:lpstr>
      <vt:lpstr>4.4 절 정리</vt:lpstr>
      <vt:lpstr>PowerPoint 프레젠테이션</vt:lpstr>
      <vt:lpstr>PowerPoint 프레젠테이션</vt:lpstr>
      <vt:lpstr>4.5.1 문제 정의와 데이터셋 수집</vt:lpstr>
      <vt:lpstr>4.5.1 문제 정의와 데이터셋 수집</vt:lpstr>
      <vt:lpstr>4.5.2 성공 지표 선택</vt:lpstr>
      <vt:lpstr>4.5.3 평가 방법 선택</vt:lpstr>
      <vt:lpstr>4.5.4 데이터 준비</vt:lpstr>
      <vt:lpstr>4.5.5 기본보다 나은 모델 훈련하기</vt:lpstr>
      <vt:lpstr>4.5.5 기본보다 나은 모델 훈련하기</vt:lpstr>
      <vt:lpstr>4.5.6 몸집 키우기: 과대적합 모델 구축</vt:lpstr>
      <vt:lpstr>4.5.7 모델 규제와 하이퍼파라미터 튜닝</vt:lpstr>
      <vt:lpstr>4.6 요약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지상</dc:creator>
  <cp:lastModifiedBy>이 지상</cp:lastModifiedBy>
  <cp:revision>19</cp:revision>
  <dcterms:created xsi:type="dcterms:W3CDTF">2021-01-13T13:09:23Z</dcterms:created>
  <dcterms:modified xsi:type="dcterms:W3CDTF">2021-01-19T11:23:25Z</dcterms:modified>
</cp:coreProperties>
</file>